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4"/>
  </p:notesMasterIdLst>
  <p:handoutMasterIdLst>
    <p:handoutMasterId r:id="rId5"/>
  </p:handoutMasterIdLst>
  <p:sldIdLst>
    <p:sldId id="367" r:id="rId3"/>
  </p:sldIdLst>
  <p:sldSz cx="12192000" cy="6858000"/>
  <p:notesSz cx="6761163" cy="9942513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02" userDrawn="1">
          <p15:clr>
            <a:srgbClr val="A4A3A4"/>
          </p15:clr>
        </p15:guide>
        <p15:guide id="2" pos="7242" userDrawn="1">
          <p15:clr>
            <a:srgbClr val="A4A3A4"/>
          </p15:clr>
        </p15:guide>
        <p15:guide id="3" pos="3250" userDrawn="1">
          <p15:clr>
            <a:srgbClr val="A4A3A4"/>
          </p15:clr>
        </p15:guide>
        <p15:guide id="4" orient="horz" pos="1298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05EFAB2-84A5-118A-D755-DB647137F210}" name="Dennis John" initials="DJ" userId="f5234170508349d9" providerId="Windows Liv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nnis John" initials="DJ" lastIdx="1" clrIdx="0">
    <p:extLst>
      <p:ext uri="{19B8F6BF-5375-455C-9EA6-DF929625EA0E}">
        <p15:presenceInfo xmlns:p15="http://schemas.microsoft.com/office/powerpoint/2012/main" userId="f5234170508349d9" providerId="Windows Live"/>
      </p:ext>
    </p:extLst>
  </p:cmAuthor>
  <p:cmAuthor id="2" name="Povlsen, Kirsten-Haahr" initials="PK" lastIdx="15" clrIdx="1">
    <p:extLst>
      <p:ext uri="{19B8F6BF-5375-455C-9EA6-DF929625EA0E}">
        <p15:presenceInfo xmlns:p15="http://schemas.microsoft.com/office/powerpoint/2012/main" userId="Povlsen, Kirsten-Haah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6A6A6"/>
    <a:srgbClr val="ED7D31"/>
    <a:srgbClr val="4472C4"/>
    <a:srgbClr val="F59D15"/>
    <a:srgbClr val="115EA0"/>
    <a:srgbClr val="A5BBE2"/>
    <a:srgbClr val="07599D"/>
    <a:srgbClr val="003865"/>
    <a:srgbClr val="0E6DC4"/>
    <a:srgbClr val="F79E1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391" autoAdjust="0"/>
    <p:restoredTop sz="94660"/>
  </p:normalViewPr>
  <p:slideViewPr>
    <p:cSldViewPr snapToGrid="0">
      <p:cViewPr varScale="1">
        <p:scale>
          <a:sx n="82" d="100"/>
          <a:sy n="82" d="100"/>
        </p:scale>
        <p:origin x="562" y="67"/>
      </p:cViewPr>
      <p:guideLst>
        <p:guide pos="302"/>
        <p:guide pos="7242"/>
        <p:guide pos="3250"/>
        <p:guide orient="horz" pos="129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Relationship Id="rId48" Type="http://schemas.microsoft.com/office/2018/10/relationships/authors" Target="author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8702188174581972"/>
          <c:y val="3.8790771961352506E-2"/>
          <c:w val="0.4893171420256186"/>
          <c:h val="0.8518897797839267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KRYPTOWÄHRUNG
Wie zeitnah würde sich Ihre Bank mit der Implementierung der neuen Lösungen zum Kryptohandel beschäftigen, sobald diese technisch zur Verfügung stehen?
[footer]</c:v>
                </c:pt>
              </c:strCache>
            </c:strRef>
          </c:tx>
          <c:spPr>
            <a:solidFill>
              <a:srgbClr val="12ADCF"/>
            </a:solidFill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0-3BF8-4CBA-834E-EDFEB3BDE54E}"/>
              </c:ext>
            </c:extLst>
          </c:dPt>
          <c:dPt>
            <c:idx val="1"/>
            <c:invertIfNegative val="0"/>
            <c:bubble3D val="0"/>
            <c:spPr>
              <a:solidFill>
                <a:srgbClr val="07599D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2-3BF8-4CBA-834E-EDFEB3BDE54E}"/>
              </c:ext>
            </c:extLst>
          </c:dPt>
          <c:dPt>
            <c:idx val="2"/>
            <c:invertIfNegative val="0"/>
            <c:bubble3D val="0"/>
            <c:spPr>
              <a:solidFill>
                <a:srgbClr val="0E6DC4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4-3BF8-4CBA-834E-EDFEB3BDE54E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6-3BF8-4CBA-834E-EDFEB3BDE54E}"/>
              </c:ext>
            </c:extLst>
          </c:dPt>
          <c:dPt>
            <c:idx val="4"/>
            <c:invertIfNegative val="0"/>
            <c:bubble3D val="0"/>
            <c:spPr>
              <a:solidFill>
                <a:srgbClr val="F79E15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8-3BF8-4CBA-834E-EDFEB3BDE54E}"/>
              </c:ext>
            </c:extLst>
          </c:dPt>
          <c:dPt>
            <c:idx val="5"/>
            <c:invertIfNegative val="0"/>
            <c:bubble3D val="0"/>
            <c:spPr>
              <a:solidFill>
                <a:srgbClr val="ED7D31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A-3BF8-4CBA-834E-EDFEB3BDE54E}"/>
              </c:ext>
            </c:extLst>
          </c:dPt>
          <c:dLbls>
            <c:numFmt formatCode="#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0" i="0" u="none" strike="noStrike">
                    <a:solidFill>
                      <a:schemeClr val="tx1"/>
                    </a:solidFill>
                    <a:latin typeface="Georgia" panose="02040502050405020303" pitchFamily="18" charset="0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Keine Beurteilung möglich</c:v>
                </c:pt>
                <c:pt idx="1">
                  <c:v>Mehr als 50 Prozent</c:v>
                </c:pt>
                <c:pt idx="2">
                  <c:v>26 – 50 Prozent</c:v>
                </c:pt>
                <c:pt idx="3">
                  <c:v>11 – 25 Prozent</c:v>
                </c:pt>
                <c:pt idx="4">
                  <c:v>6 – 10 Prozent</c:v>
                </c:pt>
                <c:pt idx="5">
                  <c:v>Weniger als 5 Prozent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2.4305555555555559E-2</c:v>
                </c:pt>
                <c:pt idx="1">
                  <c:v>7.2916666666666671E-2</c:v>
                </c:pt>
                <c:pt idx="2">
                  <c:v>0.125</c:v>
                </c:pt>
                <c:pt idx="3">
                  <c:v>0.27083333333333331</c:v>
                </c:pt>
                <c:pt idx="4">
                  <c:v>0.31944444444444442</c:v>
                </c:pt>
                <c:pt idx="5">
                  <c:v>0.18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3BF8-4CBA-834E-EDFEB3BDE54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48"/>
        <c:overlap val="-1"/>
        <c:axId val="2094734554"/>
        <c:axId val="2094734552"/>
      </c:barChart>
      <c:catAx>
        <c:axId val="2094734554"/>
        <c:scaling>
          <c:orientation val="minMax"/>
        </c:scaling>
        <c:delete val="1"/>
        <c:axPos val="l"/>
        <c:numFmt formatCode="General" sourceLinked="0"/>
        <c:majorTickMark val="none"/>
        <c:minorTickMark val="none"/>
        <c:tickLblPos val="nextTo"/>
        <c:crossAx val="2094734552"/>
        <c:crosses val="autoZero"/>
        <c:auto val="1"/>
        <c:lblAlgn val="ctr"/>
        <c:lblOffset val="100"/>
        <c:noMultiLvlLbl val="1"/>
      </c:catAx>
      <c:valAx>
        <c:axId val="2094734552"/>
        <c:scaling>
          <c:orientation val="minMax"/>
        </c:scaling>
        <c:delete val="1"/>
        <c:axPos val="b"/>
        <c:numFmt formatCode="0%" sourceLinked="0"/>
        <c:majorTickMark val="out"/>
        <c:minorTickMark val="none"/>
        <c:tickLblPos val="low"/>
        <c:crossAx val="209473455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span"/>
    <c:showDLblsOverMax val="1"/>
  </c:chart>
  <c:spPr>
    <a:noFill/>
    <a:ln w="12700" cap="flat">
      <a:noFill/>
      <a:miter lim="400000"/>
    </a:ln>
    <a:effectLst/>
  </c:sp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487983425383351"/>
          <c:y val="3.8790771961352506E-2"/>
          <c:w val="0.57407101784034653"/>
          <c:h val="0.8518897797839267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IRMENKUNDENGESCHÄFT Wie schätzen Sie die Entwicklung des Firmenkunden-Kreditgeschäfts für dieses Jahr ein? [footer] form{ text-align:left; }</c:v>
                </c:pt>
              </c:strCache>
            </c:strRef>
          </c:tx>
          <c:spPr>
            <a:solidFill>
              <a:srgbClr val="12ADCF"/>
            </a:solidFill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E6DC4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1-D92D-4E00-93FC-5CE075F0DB0B}"/>
              </c:ext>
            </c:extLst>
          </c:dPt>
          <c:dPt>
            <c:idx val="1"/>
            <c:invertIfNegative val="0"/>
            <c:bubble3D val="0"/>
            <c:spPr>
              <a:solidFill>
                <a:srgbClr val="A6A6A6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3-D92D-4E00-93FC-5CE075F0DB0B}"/>
              </c:ext>
            </c:extLst>
          </c:dPt>
          <c:dPt>
            <c:idx val="2"/>
            <c:invertIfNegative val="0"/>
            <c:bubble3D val="0"/>
            <c:spPr>
              <a:solidFill>
                <a:srgbClr val="F59D15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5-D92D-4E00-93FC-5CE075F0DB0B}"/>
              </c:ext>
            </c:extLst>
          </c:dPt>
          <c:dPt>
            <c:idx val="3"/>
            <c:invertIfNegative val="0"/>
            <c:bubble3D val="0"/>
            <c:spPr>
              <a:solidFill>
                <a:srgbClr val="ED7D31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7-D92D-4E00-93FC-5CE075F0DB0B}"/>
              </c:ext>
            </c:extLst>
          </c:dPt>
          <c:dLbls>
            <c:numFmt formatCode="#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0" i="0" u="none" strike="noStrike">
                    <a:solidFill>
                      <a:schemeClr val="tx1"/>
                    </a:solidFill>
                    <a:latin typeface="Georgia" panose="02040502050405020303" pitchFamily="18" charset="0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Höheres Wachstum als 2022</c:v>
                </c:pt>
                <c:pt idx="1">
                  <c:v>Gleichbleibendes Wachstum wie in 2022</c:v>
                </c:pt>
                <c:pt idx="2">
                  <c:v>Geringeres Wachstum als 2022</c:v>
                </c:pt>
                <c:pt idx="3">
                  <c:v>Kein Wachstum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7.6124567474048443E-2</c:v>
                </c:pt>
                <c:pt idx="1">
                  <c:v>0.24221453287197231</c:v>
                </c:pt>
                <c:pt idx="2">
                  <c:v>0.56401384083044981</c:v>
                </c:pt>
                <c:pt idx="3">
                  <c:v>0.11764705882352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D92D-4E00-93FC-5CE075F0DB0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5</c:f>
              <c:strCache>
                <c:ptCount val="4"/>
                <c:pt idx="0">
                  <c:v>Höheres Wachstum als 2022</c:v>
                </c:pt>
                <c:pt idx="1">
                  <c:v>Gleichbleibendes Wachstum wie in 2022</c:v>
                </c:pt>
                <c:pt idx="2">
                  <c:v>Geringeres Wachstum als 2022</c:v>
                </c:pt>
                <c:pt idx="3">
                  <c:v>Kein Wachstum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</c:numCache>
            </c:numRef>
          </c:val>
          <c:extLst>
            <c:ext xmlns:c16="http://schemas.microsoft.com/office/drawing/2014/chart" uri="{C3380CC4-5D6E-409C-BE32-E72D297353CC}">
              <c16:uniqueId val="{00000008-C10F-4E05-867F-94A624C1148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48"/>
        <c:overlap val="-1"/>
        <c:axId val="2094734554"/>
        <c:axId val="2094734552"/>
      </c:barChart>
      <c:catAx>
        <c:axId val="2094734554"/>
        <c:scaling>
          <c:orientation val="maxMin"/>
        </c:scaling>
        <c:delete val="1"/>
        <c:axPos val="l"/>
        <c:numFmt formatCode="General" sourceLinked="0"/>
        <c:majorTickMark val="none"/>
        <c:minorTickMark val="none"/>
        <c:tickLblPos val="nextTo"/>
        <c:crossAx val="2094734552"/>
        <c:crosses val="autoZero"/>
        <c:auto val="1"/>
        <c:lblAlgn val="ctr"/>
        <c:lblOffset val="100"/>
        <c:noMultiLvlLbl val="1"/>
      </c:catAx>
      <c:valAx>
        <c:axId val="2094734552"/>
        <c:scaling>
          <c:orientation val="minMax"/>
        </c:scaling>
        <c:delete val="1"/>
        <c:axPos val="t"/>
        <c:numFmt formatCode="0%" sourceLinked="0"/>
        <c:majorTickMark val="out"/>
        <c:minorTickMark val="none"/>
        <c:tickLblPos val="low"/>
        <c:crossAx val="209473455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span"/>
    <c:showDLblsOverMax val="1"/>
  </c:chart>
  <c:spPr>
    <a:noFill/>
    <a:ln w="12700" cap="flat">
      <a:noFill/>
      <a:miter lim="400000"/>
    </a:ln>
    <a:effectLst/>
  </c:sp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9837" cy="49885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29761" y="0"/>
            <a:ext cx="2929837" cy="49885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CB92224-1459-4DF7-B410-AF29E1CFF6C5}" type="datetimeFigureOut">
              <a:rPr lang="de-DE" smtClean="0"/>
              <a:t>25.09.2023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43662"/>
            <a:ext cx="2929837" cy="4988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29761" y="9443662"/>
            <a:ext cx="2929837" cy="4988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A8AA95-5700-4F4F-B112-B448394367D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855793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3052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29050" y="0"/>
            <a:ext cx="293052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063717A-014C-4967-B1B0-7AF193FA6086}" type="datetimeFigureOut">
              <a:rPr lang="de-DE" smtClean="0"/>
              <a:t>25.09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98463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6275" y="4784725"/>
            <a:ext cx="5408613" cy="3914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4038"/>
            <a:ext cx="293052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29050" y="9444038"/>
            <a:ext cx="293052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39397B-FDBC-43EA-A27E-293C900ED14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74563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4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5.jp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8.xml"/><Relationship Id="rId7" Type="http://schemas.openxmlformats.org/officeDocument/2006/relationships/image" Target="../media/image4.jpe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7.sv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10.xml"/><Relationship Id="rId7" Type="http://schemas.openxmlformats.org/officeDocument/2006/relationships/image" Target="../media/image6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12.xml"/><Relationship Id="rId7" Type="http://schemas.openxmlformats.org/officeDocument/2006/relationships/image" Target="../media/image6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28.xml"/><Relationship Id="rId7" Type="http://schemas.openxmlformats.org/officeDocument/2006/relationships/image" Target="../media/image6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30.xml"/><Relationship Id="rId7" Type="http://schemas.openxmlformats.org/officeDocument/2006/relationships/image" Target="../media/image6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32.xml"/><Relationship Id="rId7" Type="http://schemas.openxmlformats.org/officeDocument/2006/relationships/image" Target="../media/image6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34.xml"/><Relationship Id="rId7" Type="http://schemas.openxmlformats.org/officeDocument/2006/relationships/image" Target="../media/image6.png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36.xml"/><Relationship Id="rId7" Type="http://schemas.openxmlformats.org/officeDocument/2006/relationships/image" Target="../media/image6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7.jpe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38.xml"/><Relationship Id="rId7" Type="http://schemas.openxmlformats.org/officeDocument/2006/relationships/image" Target="../media/image6.png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7.jpeg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40.xml"/><Relationship Id="rId7" Type="http://schemas.openxmlformats.org/officeDocument/2006/relationships/image" Target="../media/image3.emf"/><Relationship Id="rId2" Type="http://schemas.openxmlformats.org/officeDocument/2006/relationships/tags" Target="../tags/tag39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1.xml"/><Relationship Id="rId9" Type="http://schemas.microsoft.com/office/2007/relationships/hdphoto" Target="../media/hdphoto1.wdp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43.xml"/><Relationship Id="rId7" Type="http://schemas.openxmlformats.org/officeDocument/2006/relationships/image" Target="../media/image9.jpeg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C1BE6E8-AD9F-4CD0-91D7-3AC7E98669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80E78BC-7FDC-4BD2-8E25-1995D10AACA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509E822-15CB-4A19-94C1-378ADF7B81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2EBEF1-D79E-4978-9301-90D12F5C54DD}" type="datetime1">
              <a:rPr lang="de-DE" smtClean="0"/>
              <a:t>25.09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9B7AED2-24D5-4F44-9145-DDFED7F7FF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Umfrage vom 20.7.2023 bis 11.08.2023; Teilnahmequote: 75 Prozent der Mitgliedsbanken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40225B4-869C-4D35-9EF9-1D002FEDE8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0676B-BFEB-47E1-A313-420DA8D05D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664425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26FAA61-7800-4B92-B644-7BB6719C31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F4CEC949-14C8-462F-A326-187DF803073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65194CC-C847-44BC-9EA4-A85BB5D45C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84DBAB-B5E8-41B9-A880-79F47E96520B}" type="datetime1">
              <a:rPr lang="de-DE" smtClean="0"/>
              <a:t>25.09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096CDD5-3390-4F7D-81D3-846EDD62FC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Umfrage vom 20.7.2023 bis 11.08.2023; Teilnahmequote: 75 Prozent der Mitgliedsbanken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D08B120-0FCA-4957-8E51-D29A076171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0676B-BFEB-47E1-A313-420DA8D05D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240157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D8BAC029-2DEE-45D0-8316-3D31B742FF6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DBA479A8-69B9-4C3B-BBC0-A84D2AE11E0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C9C07D7-E84D-45A7-AE07-AEC742AFC8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1B8704-85CD-4BD0-941F-027707CCF4F1}" type="datetime1">
              <a:rPr lang="de-DE" smtClean="0"/>
              <a:t>25.09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99A5DF0-249C-45E9-8684-22495B26C3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Umfrage vom 20.7.2023 bis 11.08.2023; Teilnahmequote: 75 Prozent der Mitgliedsbanken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2B93A64-01C1-4043-AEE2-242BC9A8EE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0676B-BFEB-47E1-A313-420DA8D05D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52199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3-zeil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0FB2A97-47F3-477B-948E-69B2DD468B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0FB2A97-47F3-477B-948E-69B2DD468B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32D90A56-0EC3-467D-877B-BB8F7CCDF726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7EAF41AC-C246-8844-AC5D-A4D397771B2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Eine Ecke des Rechtecks abrunden 9">
            <a:extLst>
              <a:ext uri="{FF2B5EF4-FFF2-40B4-BE49-F238E27FC236}">
                <a16:creationId xmlns:a16="http://schemas.microsoft.com/office/drawing/2014/main" id="{33863BBC-A24F-7347-BB34-CABCF2A882DA}"/>
              </a:ext>
            </a:extLst>
          </p:cNvPr>
          <p:cNvSpPr/>
          <p:nvPr userDrawn="1"/>
        </p:nvSpPr>
        <p:spPr bwMode="gray">
          <a:xfrm flipH="1">
            <a:off x="4751851" y="1988841"/>
            <a:ext cx="7845789" cy="4869161"/>
          </a:xfrm>
          <a:custGeom>
            <a:avLst/>
            <a:gdLst>
              <a:gd name="connsiteX0" fmla="*/ 0 w 4787826"/>
              <a:gd name="connsiteY0" fmla="*/ 0 h 3075807"/>
              <a:gd name="connsiteX1" fmla="*/ 3667186 w 4787826"/>
              <a:gd name="connsiteY1" fmla="*/ 0 h 3075807"/>
              <a:gd name="connsiteX2" fmla="*/ 4787826 w 4787826"/>
              <a:gd name="connsiteY2" fmla="*/ 1120640 h 3075807"/>
              <a:gd name="connsiteX3" fmla="*/ 4787826 w 4787826"/>
              <a:gd name="connsiteY3" fmla="*/ 3075807 h 3075807"/>
              <a:gd name="connsiteX4" fmla="*/ 0 w 4787826"/>
              <a:gd name="connsiteY4" fmla="*/ 3075807 h 3075807"/>
              <a:gd name="connsiteX5" fmla="*/ 0 w 4787826"/>
              <a:gd name="connsiteY5" fmla="*/ 0 h 3075807"/>
              <a:gd name="connsiteX0" fmla="*/ 0 w 4787826"/>
              <a:gd name="connsiteY0" fmla="*/ 0 h 3075807"/>
              <a:gd name="connsiteX1" fmla="*/ 3667186 w 4787826"/>
              <a:gd name="connsiteY1" fmla="*/ 0 h 3075807"/>
              <a:gd name="connsiteX2" fmla="*/ 4787826 w 4787826"/>
              <a:gd name="connsiteY2" fmla="*/ 1120640 h 3075807"/>
              <a:gd name="connsiteX3" fmla="*/ 3591372 w 4787826"/>
              <a:gd name="connsiteY3" fmla="*/ 3066708 h 3075807"/>
              <a:gd name="connsiteX4" fmla="*/ 0 w 4787826"/>
              <a:gd name="connsiteY4" fmla="*/ 3075807 h 3075807"/>
              <a:gd name="connsiteX5" fmla="*/ 0 w 4787826"/>
              <a:gd name="connsiteY5" fmla="*/ 0 h 3075807"/>
              <a:gd name="connsiteX0" fmla="*/ 0 w 4787909"/>
              <a:gd name="connsiteY0" fmla="*/ 0 h 3075807"/>
              <a:gd name="connsiteX1" fmla="*/ 3667186 w 4787909"/>
              <a:gd name="connsiteY1" fmla="*/ 0 h 3075807"/>
              <a:gd name="connsiteX2" fmla="*/ 4787826 w 4787909"/>
              <a:gd name="connsiteY2" fmla="*/ 1120640 h 3075807"/>
              <a:gd name="connsiteX3" fmla="*/ 3591372 w 4787909"/>
              <a:gd name="connsiteY3" fmla="*/ 3066708 h 3075807"/>
              <a:gd name="connsiteX4" fmla="*/ 0 w 4787909"/>
              <a:gd name="connsiteY4" fmla="*/ 3075807 h 3075807"/>
              <a:gd name="connsiteX5" fmla="*/ 0 w 4787909"/>
              <a:gd name="connsiteY5" fmla="*/ 0 h 30758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87909" h="3075807">
                <a:moveTo>
                  <a:pt x="0" y="0"/>
                </a:moveTo>
                <a:lnTo>
                  <a:pt x="3667186" y="0"/>
                </a:lnTo>
                <a:cubicBezTo>
                  <a:pt x="4286098" y="0"/>
                  <a:pt x="4795409" y="467401"/>
                  <a:pt x="4787826" y="1120640"/>
                </a:cubicBezTo>
                <a:cubicBezTo>
                  <a:pt x="4780243" y="1773879"/>
                  <a:pt x="3990190" y="2418019"/>
                  <a:pt x="3591372" y="3066708"/>
                </a:cubicBezTo>
                <a:lnTo>
                  <a:pt x="0" y="3075807"/>
                </a:lnTo>
                <a:lnTo>
                  <a:pt x="0" y="0"/>
                </a:lnTo>
                <a:close/>
              </a:path>
            </a:pathLst>
          </a:custGeom>
          <a:solidFill>
            <a:srgbClr val="00436E">
              <a:alpha val="80000"/>
            </a:srgbClr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480043" y="4724276"/>
            <a:ext cx="5336643" cy="738664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buNone/>
              <a:defRPr>
                <a:solidFill>
                  <a:schemeClr val="accent4"/>
                </a:solidFill>
              </a:defRPr>
            </a:lvl1pPr>
            <a:lvl2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2pPr>
            <a:lvl3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3pPr>
            <a:lvl4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4pPr>
            <a:lvl5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5pPr>
            <a:lvl6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6pPr>
            <a:lvl7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7pPr>
            <a:lvl8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8pPr>
            <a:lvl9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9pPr>
          </a:lstStyle>
          <a:p>
            <a:pPr lvl="0"/>
            <a:r>
              <a:rPr lang="de-DE" dirty="0"/>
              <a:t>Tragen Sie hier einen Untertitel und weitere relevante Informationen zur Präsentation ein (12 </a:t>
            </a:r>
            <a:r>
              <a:rPr lang="de-DE" dirty="0" err="1"/>
              <a:t>pt</a:t>
            </a:r>
            <a:r>
              <a:rPr lang="de-DE" dirty="0"/>
              <a:t>, Akzent 4)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0AF106A0-DD42-0746-9A92-6F85E40C4D6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itel 13">
            <a:extLst>
              <a:ext uri="{FF2B5EF4-FFF2-40B4-BE49-F238E27FC236}">
                <a16:creationId xmlns:a16="http://schemas.microsoft.com/office/drawing/2014/main" id="{AD308901-8FA5-7C44-B79F-179DA017BE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480043" y="2948947"/>
            <a:ext cx="5336643" cy="1477328"/>
          </a:xfrm>
        </p:spPr>
        <p:txBody>
          <a:bodyPr vert="horz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 für</a:t>
            </a:r>
            <a:br>
              <a:rPr lang="de-DE" dirty="0"/>
            </a:br>
            <a:r>
              <a:rPr lang="de-DE" dirty="0"/>
              <a:t>maximal drei Zeilen als</a:t>
            </a:r>
            <a:br>
              <a:rPr lang="de-DE" dirty="0"/>
            </a:br>
            <a:r>
              <a:rPr lang="de-DE" dirty="0"/>
              <a:t>großer Aufmacher</a:t>
            </a:r>
          </a:p>
        </p:txBody>
      </p:sp>
    </p:spTree>
    <p:extLst>
      <p:ext uri="{BB962C8B-B14F-4D97-AF65-F5344CB8AC3E}">
        <p14:creationId xmlns:p14="http://schemas.microsoft.com/office/powerpoint/2010/main" val="33361802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Kapiteltrenn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075C34E-D67F-4F51-8822-8A51342BF6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075C34E-D67F-4F51-8822-8A51342BF6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FFFDF00-EB47-48AD-8015-33B071A9EE2E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8C283C3-F83F-48FC-9D68-03CAE2DA766B}"/>
              </a:ext>
            </a:extLst>
          </p:cNvPr>
          <p:cNvSpPr/>
          <p:nvPr userDrawn="1"/>
        </p:nvSpPr>
        <p:spPr bwMode="gray">
          <a:xfrm>
            <a:off x="6816080" y="5541235"/>
            <a:ext cx="5375920" cy="960107"/>
          </a:xfrm>
          <a:prstGeom prst="rect">
            <a:avLst/>
          </a:pr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14" name="Grafik 13" descr="Ein Bild, das drinnen, Tasse, Tisch, Essen enthält.&#10;&#10;Automatisch generierte Beschreibung">
            <a:extLst>
              <a:ext uri="{FF2B5EF4-FFF2-40B4-BE49-F238E27FC236}">
                <a16:creationId xmlns:a16="http://schemas.microsoft.com/office/drawing/2014/main" id="{8973A747-3520-4943-9E8C-E620032AEEB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87" r="2703" b="8194"/>
          <a:stretch>
            <a:fillRect/>
          </a:stretch>
        </p:blipFill>
        <p:spPr bwMode="gray">
          <a:xfrm>
            <a:off x="0" y="-48005"/>
            <a:ext cx="10229005" cy="6981395"/>
          </a:xfrm>
          <a:custGeom>
            <a:avLst/>
            <a:gdLst>
              <a:gd name="connsiteX0" fmla="*/ 0 w 7671754"/>
              <a:gd name="connsiteY0" fmla="*/ 0 h 5236046"/>
              <a:gd name="connsiteX1" fmla="*/ 5875999 w 7671754"/>
              <a:gd name="connsiteY1" fmla="*/ 0 h 5236046"/>
              <a:gd name="connsiteX2" fmla="*/ 7671621 w 7671754"/>
              <a:gd name="connsiteY2" fmla="*/ 1907702 h 5236046"/>
              <a:gd name="connsiteX3" fmla="*/ 5754521 w 7671754"/>
              <a:gd name="connsiteY3" fmla="*/ 5220557 h 5236046"/>
              <a:gd name="connsiteX4" fmla="*/ 0 w 7671754"/>
              <a:gd name="connsiteY4" fmla="*/ 5236046 h 52360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71754" h="5236046">
                <a:moveTo>
                  <a:pt x="0" y="0"/>
                </a:moveTo>
                <a:lnTo>
                  <a:pt x="5875999" y="0"/>
                </a:lnTo>
                <a:cubicBezTo>
                  <a:pt x="6867693" y="0"/>
                  <a:pt x="7683772" y="795672"/>
                  <a:pt x="7671621" y="1907702"/>
                </a:cubicBezTo>
                <a:cubicBezTo>
                  <a:pt x="7659471" y="3019732"/>
                  <a:pt x="6393555" y="4116272"/>
                  <a:pt x="5754521" y="5220557"/>
                </a:cubicBezTo>
                <a:lnTo>
                  <a:pt x="0" y="5236046"/>
                </a:lnTo>
                <a:close/>
              </a:path>
            </a:pathLst>
          </a:custGeom>
        </p:spPr>
      </p:pic>
      <p:sp>
        <p:nvSpPr>
          <p:cNvPr id="11" name="Eine Ecke des Rechtecks abrunden 9">
            <a:extLst>
              <a:ext uri="{FF2B5EF4-FFF2-40B4-BE49-F238E27FC236}">
                <a16:creationId xmlns:a16="http://schemas.microsoft.com/office/drawing/2014/main" id="{90DD6398-5F92-4DD5-9C77-C09BC440A93A}"/>
              </a:ext>
            </a:extLst>
          </p:cNvPr>
          <p:cNvSpPr/>
          <p:nvPr userDrawn="1"/>
        </p:nvSpPr>
        <p:spPr bwMode="gray">
          <a:xfrm>
            <a:off x="0" y="2790333"/>
            <a:ext cx="5999989" cy="4095051"/>
          </a:xfrm>
          <a:custGeom>
            <a:avLst/>
            <a:gdLst>
              <a:gd name="connsiteX0" fmla="*/ 0 w 4787826"/>
              <a:gd name="connsiteY0" fmla="*/ 0 h 3075807"/>
              <a:gd name="connsiteX1" fmla="*/ 3667186 w 4787826"/>
              <a:gd name="connsiteY1" fmla="*/ 0 h 3075807"/>
              <a:gd name="connsiteX2" fmla="*/ 4787826 w 4787826"/>
              <a:gd name="connsiteY2" fmla="*/ 1120640 h 3075807"/>
              <a:gd name="connsiteX3" fmla="*/ 4787826 w 4787826"/>
              <a:gd name="connsiteY3" fmla="*/ 3075807 h 3075807"/>
              <a:gd name="connsiteX4" fmla="*/ 0 w 4787826"/>
              <a:gd name="connsiteY4" fmla="*/ 3075807 h 3075807"/>
              <a:gd name="connsiteX5" fmla="*/ 0 w 4787826"/>
              <a:gd name="connsiteY5" fmla="*/ 0 h 3075807"/>
              <a:gd name="connsiteX0" fmla="*/ 0 w 4787826"/>
              <a:gd name="connsiteY0" fmla="*/ 0 h 3075807"/>
              <a:gd name="connsiteX1" fmla="*/ 3667186 w 4787826"/>
              <a:gd name="connsiteY1" fmla="*/ 0 h 3075807"/>
              <a:gd name="connsiteX2" fmla="*/ 4787826 w 4787826"/>
              <a:gd name="connsiteY2" fmla="*/ 1120640 h 3075807"/>
              <a:gd name="connsiteX3" fmla="*/ 3591372 w 4787826"/>
              <a:gd name="connsiteY3" fmla="*/ 3066708 h 3075807"/>
              <a:gd name="connsiteX4" fmla="*/ 0 w 4787826"/>
              <a:gd name="connsiteY4" fmla="*/ 3075807 h 3075807"/>
              <a:gd name="connsiteX5" fmla="*/ 0 w 4787826"/>
              <a:gd name="connsiteY5" fmla="*/ 0 h 3075807"/>
              <a:gd name="connsiteX0" fmla="*/ 0 w 4787909"/>
              <a:gd name="connsiteY0" fmla="*/ 0 h 3075807"/>
              <a:gd name="connsiteX1" fmla="*/ 3667186 w 4787909"/>
              <a:gd name="connsiteY1" fmla="*/ 0 h 3075807"/>
              <a:gd name="connsiteX2" fmla="*/ 4787826 w 4787909"/>
              <a:gd name="connsiteY2" fmla="*/ 1120640 h 3075807"/>
              <a:gd name="connsiteX3" fmla="*/ 3591372 w 4787909"/>
              <a:gd name="connsiteY3" fmla="*/ 3066708 h 3075807"/>
              <a:gd name="connsiteX4" fmla="*/ 0 w 4787909"/>
              <a:gd name="connsiteY4" fmla="*/ 3075807 h 3075807"/>
              <a:gd name="connsiteX5" fmla="*/ 0 w 4787909"/>
              <a:gd name="connsiteY5" fmla="*/ 0 h 30758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87909" h="3075807">
                <a:moveTo>
                  <a:pt x="0" y="0"/>
                </a:moveTo>
                <a:lnTo>
                  <a:pt x="3667186" y="0"/>
                </a:lnTo>
                <a:cubicBezTo>
                  <a:pt x="4286098" y="0"/>
                  <a:pt x="4795409" y="467401"/>
                  <a:pt x="4787826" y="1120640"/>
                </a:cubicBezTo>
                <a:cubicBezTo>
                  <a:pt x="4780243" y="1773879"/>
                  <a:pt x="3990190" y="2418019"/>
                  <a:pt x="3591372" y="3066708"/>
                </a:cubicBezTo>
                <a:lnTo>
                  <a:pt x="0" y="30758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91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lvl="0"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</a:endParaRPr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0CAC3CFB-B433-4E61-9424-DFFD07515A5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376" y="5156324"/>
            <a:ext cx="5336643" cy="738664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buNone/>
              <a:defRPr>
                <a:solidFill>
                  <a:schemeClr val="accent4"/>
                </a:solidFill>
              </a:defRPr>
            </a:lvl1pPr>
            <a:lvl2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2pPr>
            <a:lvl3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3pPr>
            <a:lvl4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4pPr>
            <a:lvl5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5pPr>
            <a:lvl6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6pPr>
            <a:lvl7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7pPr>
            <a:lvl8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8pPr>
            <a:lvl9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9pPr>
          </a:lstStyle>
          <a:p>
            <a:pPr lvl="0"/>
            <a:r>
              <a:rPr lang="de-DE" dirty="0"/>
              <a:t>Tragen Sie hier einen Untertitel und weitere relevante Informationen zur Präsentation ein (12 </a:t>
            </a:r>
            <a:r>
              <a:rPr lang="de-DE" dirty="0" err="1"/>
              <a:t>pt</a:t>
            </a:r>
            <a:r>
              <a:rPr lang="de-DE" dirty="0"/>
              <a:t>, Akzent 4)</a:t>
            </a:r>
          </a:p>
        </p:txBody>
      </p:sp>
      <p:sp>
        <p:nvSpPr>
          <p:cNvPr id="9" name="Titel 13">
            <a:extLst>
              <a:ext uri="{FF2B5EF4-FFF2-40B4-BE49-F238E27FC236}">
                <a16:creationId xmlns:a16="http://schemas.microsoft.com/office/drawing/2014/main" id="{EB53A05E-9B86-4F4B-BACF-6E21CF9DF7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376" y="3380995"/>
            <a:ext cx="5336643" cy="1477328"/>
          </a:xfrm>
        </p:spPr>
        <p:txBody>
          <a:bodyPr vert="horz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 für</a:t>
            </a:r>
            <a:br>
              <a:rPr lang="de-DE" dirty="0"/>
            </a:br>
            <a:r>
              <a:rPr lang="de-DE" dirty="0"/>
              <a:t>maximal drei Zeilen als</a:t>
            </a:r>
            <a:br>
              <a:rPr lang="de-DE" dirty="0"/>
            </a:br>
            <a:r>
              <a:rPr lang="de-DE" dirty="0"/>
              <a:t>großer Aufmacher</a:t>
            </a:r>
          </a:p>
        </p:txBody>
      </p:sp>
    </p:spTree>
    <p:extLst>
      <p:ext uri="{BB962C8B-B14F-4D97-AF65-F5344CB8AC3E}">
        <p14:creationId xmlns:p14="http://schemas.microsoft.com/office/powerpoint/2010/main" val="30367201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2-zeil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1994E06-31D5-420C-B5CD-D16CE6B621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1994E06-31D5-420C-B5CD-D16CE6B621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94B53F05-CCA6-4ED6-9E4E-4CA3FA6CAB32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42C45A86-CF77-774F-8869-76946457341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Eine Ecke des Rechtecks abrunden 9">
            <a:extLst>
              <a:ext uri="{FF2B5EF4-FFF2-40B4-BE49-F238E27FC236}">
                <a16:creationId xmlns:a16="http://schemas.microsoft.com/office/drawing/2014/main" id="{1BB0C27D-3A1E-4E49-85E3-A82AB250FD6D}"/>
              </a:ext>
            </a:extLst>
          </p:cNvPr>
          <p:cNvSpPr/>
          <p:nvPr userDrawn="1"/>
        </p:nvSpPr>
        <p:spPr bwMode="gray">
          <a:xfrm flipH="1">
            <a:off x="4751851" y="1988841"/>
            <a:ext cx="7845789" cy="4869161"/>
          </a:xfrm>
          <a:custGeom>
            <a:avLst/>
            <a:gdLst>
              <a:gd name="connsiteX0" fmla="*/ 0 w 4787826"/>
              <a:gd name="connsiteY0" fmla="*/ 0 h 3075807"/>
              <a:gd name="connsiteX1" fmla="*/ 3667186 w 4787826"/>
              <a:gd name="connsiteY1" fmla="*/ 0 h 3075807"/>
              <a:gd name="connsiteX2" fmla="*/ 4787826 w 4787826"/>
              <a:gd name="connsiteY2" fmla="*/ 1120640 h 3075807"/>
              <a:gd name="connsiteX3" fmla="*/ 4787826 w 4787826"/>
              <a:gd name="connsiteY3" fmla="*/ 3075807 h 3075807"/>
              <a:gd name="connsiteX4" fmla="*/ 0 w 4787826"/>
              <a:gd name="connsiteY4" fmla="*/ 3075807 h 3075807"/>
              <a:gd name="connsiteX5" fmla="*/ 0 w 4787826"/>
              <a:gd name="connsiteY5" fmla="*/ 0 h 3075807"/>
              <a:gd name="connsiteX0" fmla="*/ 0 w 4787826"/>
              <a:gd name="connsiteY0" fmla="*/ 0 h 3075807"/>
              <a:gd name="connsiteX1" fmla="*/ 3667186 w 4787826"/>
              <a:gd name="connsiteY1" fmla="*/ 0 h 3075807"/>
              <a:gd name="connsiteX2" fmla="*/ 4787826 w 4787826"/>
              <a:gd name="connsiteY2" fmla="*/ 1120640 h 3075807"/>
              <a:gd name="connsiteX3" fmla="*/ 3591372 w 4787826"/>
              <a:gd name="connsiteY3" fmla="*/ 3066708 h 3075807"/>
              <a:gd name="connsiteX4" fmla="*/ 0 w 4787826"/>
              <a:gd name="connsiteY4" fmla="*/ 3075807 h 3075807"/>
              <a:gd name="connsiteX5" fmla="*/ 0 w 4787826"/>
              <a:gd name="connsiteY5" fmla="*/ 0 h 3075807"/>
              <a:gd name="connsiteX0" fmla="*/ 0 w 4787909"/>
              <a:gd name="connsiteY0" fmla="*/ 0 h 3075807"/>
              <a:gd name="connsiteX1" fmla="*/ 3667186 w 4787909"/>
              <a:gd name="connsiteY1" fmla="*/ 0 h 3075807"/>
              <a:gd name="connsiteX2" fmla="*/ 4787826 w 4787909"/>
              <a:gd name="connsiteY2" fmla="*/ 1120640 h 3075807"/>
              <a:gd name="connsiteX3" fmla="*/ 3591372 w 4787909"/>
              <a:gd name="connsiteY3" fmla="*/ 3066708 h 3075807"/>
              <a:gd name="connsiteX4" fmla="*/ 0 w 4787909"/>
              <a:gd name="connsiteY4" fmla="*/ 3075807 h 3075807"/>
              <a:gd name="connsiteX5" fmla="*/ 0 w 4787909"/>
              <a:gd name="connsiteY5" fmla="*/ 0 h 30758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87909" h="3075807">
                <a:moveTo>
                  <a:pt x="0" y="0"/>
                </a:moveTo>
                <a:lnTo>
                  <a:pt x="3667186" y="0"/>
                </a:lnTo>
                <a:cubicBezTo>
                  <a:pt x="4286098" y="0"/>
                  <a:pt x="4795409" y="467401"/>
                  <a:pt x="4787826" y="1120640"/>
                </a:cubicBezTo>
                <a:cubicBezTo>
                  <a:pt x="4780243" y="1773879"/>
                  <a:pt x="3990190" y="2418019"/>
                  <a:pt x="3591372" y="3066708"/>
                </a:cubicBezTo>
                <a:lnTo>
                  <a:pt x="0" y="3075807"/>
                </a:lnTo>
                <a:lnTo>
                  <a:pt x="0" y="0"/>
                </a:lnTo>
                <a:close/>
              </a:path>
            </a:pathLst>
          </a:custGeom>
          <a:solidFill>
            <a:srgbClr val="00436E">
              <a:alpha val="80000"/>
            </a:srgbClr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0AF106A0-DD42-0746-9A92-6F85E40C4D6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01A3EC2F-55DD-C446-9564-82A75A8CDF7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 bwMode="gray">
          <a:xfrm>
            <a:off x="10742401" y="189001"/>
            <a:ext cx="1079481" cy="608159"/>
          </a:xfrm>
          <a:prstGeom prst="rect">
            <a:avLst/>
          </a:prstGeom>
        </p:spPr>
      </p:pic>
      <p:sp>
        <p:nvSpPr>
          <p:cNvPr id="17" name="Titel 3">
            <a:extLst>
              <a:ext uri="{FF2B5EF4-FFF2-40B4-BE49-F238E27FC236}">
                <a16:creationId xmlns:a16="http://schemas.microsoft.com/office/drawing/2014/main" id="{757D0861-C281-004B-B1C3-845D27F698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480043" y="2947814"/>
            <a:ext cx="5336643" cy="984885"/>
          </a:xfrm>
        </p:spPr>
        <p:txBody>
          <a:bodyPr vert="horz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 für</a:t>
            </a:r>
            <a:br>
              <a:rPr lang="de-DE" dirty="0"/>
            </a:br>
            <a:r>
              <a:rPr lang="de-DE" dirty="0"/>
              <a:t>maximal zwei Zeilen</a:t>
            </a:r>
          </a:p>
        </p:txBody>
      </p:sp>
      <p:sp>
        <p:nvSpPr>
          <p:cNvPr id="18" name="Untertitel 2">
            <a:extLst>
              <a:ext uri="{FF2B5EF4-FFF2-40B4-BE49-F238E27FC236}">
                <a16:creationId xmlns:a16="http://schemas.microsoft.com/office/drawing/2014/main" id="{52F72D63-9BF9-4945-838B-7FF68AD3D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6480043" y="4237932"/>
            <a:ext cx="5336643" cy="738664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buNone/>
              <a:defRPr>
                <a:solidFill>
                  <a:schemeClr val="accent4"/>
                </a:solidFill>
              </a:defRPr>
            </a:lvl1pPr>
            <a:lvl2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2pPr>
            <a:lvl3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3pPr>
            <a:lvl4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4pPr>
            <a:lvl5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5pPr>
            <a:lvl6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6pPr>
            <a:lvl7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7pPr>
            <a:lvl8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8pPr>
            <a:lvl9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9pPr>
          </a:lstStyle>
          <a:p>
            <a:pPr lvl="0"/>
            <a:r>
              <a:rPr lang="de-DE" dirty="0"/>
              <a:t>Tragen Sie hier einen Untertitel und weitere relevante Informationen zur Präsentation ein (12 </a:t>
            </a:r>
            <a:r>
              <a:rPr lang="de-DE" dirty="0" err="1"/>
              <a:t>pt</a:t>
            </a:r>
            <a:r>
              <a:rPr lang="de-DE" dirty="0"/>
              <a:t>, Akzent 4)</a:t>
            </a:r>
          </a:p>
        </p:txBody>
      </p:sp>
    </p:spTree>
    <p:extLst>
      <p:ext uri="{BB962C8B-B14F-4D97-AF65-F5344CB8AC3E}">
        <p14:creationId xmlns:p14="http://schemas.microsoft.com/office/powerpoint/2010/main" val="34797962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ine Ecke des Rechtecks abrunden 9">
            <a:extLst>
              <a:ext uri="{FF2B5EF4-FFF2-40B4-BE49-F238E27FC236}">
                <a16:creationId xmlns:a16="http://schemas.microsoft.com/office/drawing/2014/main" id="{A24A3260-D8D0-BE4F-8E50-EFEC4B61BA58}"/>
              </a:ext>
            </a:extLst>
          </p:cNvPr>
          <p:cNvSpPr/>
          <p:nvPr userDrawn="1"/>
        </p:nvSpPr>
        <p:spPr bwMode="gray">
          <a:xfrm flipH="1">
            <a:off x="3791744" y="1124744"/>
            <a:ext cx="8400256" cy="5733256"/>
          </a:xfrm>
          <a:custGeom>
            <a:avLst/>
            <a:gdLst>
              <a:gd name="connsiteX0" fmla="*/ 0 w 4787826"/>
              <a:gd name="connsiteY0" fmla="*/ 0 h 3075807"/>
              <a:gd name="connsiteX1" fmla="*/ 3667186 w 4787826"/>
              <a:gd name="connsiteY1" fmla="*/ 0 h 3075807"/>
              <a:gd name="connsiteX2" fmla="*/ 4787826 w 4787826"/>
              <a:gd name="connsiteY2" fmla="*/ 1120640 h 3075807"/>
              <a:gd name="connsiteX3" fmla="*/ 4787826 w 4787826"/>
              <a:gd name="connsiteY3" fmla="*/ 3075807 h 3075807"/>
              <a:gd name="connsiteX4" fmla="*/ 0 w 4787826"/>
              <a:gd name="connsiteY4" fmla="*/ 3075807 h 3075807"/>
              <a:gd name="connsiteX5" fmla="*/ 0 w 4787826"/>
              <a:gd name="connsiteY5" fmla="*/ 0 h 3075807"/>
              <a:gd name="connsiteX0" fmla="*/ 0 w 4787826"/>
              <a:gd name="connsiteY0" fmla="*/ 0 h 3075807"/>
              <a:gd name="connsiteX1" fmla="*/ 3667186 w 4787826"/>
              <a:gd name="connsiteY1" fmla="*/ 0 h 3075807"/>
              <a:gd name="connsiteX2" fmla="*/ 4787826 w 4787826"/>
              <a:gd name="connsiteY2" fmla="*/ 1120640 h 3075807"/>
              <a:gd name="connsiteX3" fmla="*/ 3591372 w 4787826"/>
              <a:gd name="connsiteY3" fmla="*/ 3066708 h 3075807"/>
              <a:gd name="connsiteX4" fmla="*/ 0 w 4787826"/>
              <a:gd name="connsiteY4" fmla="*/ 3075807 h 3075807"/>
              <a:gd name="connsiteX5" fmla="*/ 0 w 4787826"/>
              <a:gd name="connsiteY5" fmla="*/ 0 h 3075807"/>
              <a:gd name="connsiteX0" fmla="*/ 0 w 4787909"/>
              <a:gd name="connsiteY0" fmla="*/ 0 h 3075807"/>
              <a:gd name="connsiteX1" fmla="*/ 3667186 w 4787909"/>
              <a:gd name="connsiteY1" fmla="*/ 0 h 3075807"/>
              <a:gd name="connsiteX2" fmla="*/ 4787826 w 4787909"/>
              <a:gd name="connsiteY2" fmla="*/ 1120640 h 3075807"/>
              <a:gd name="connsiteX3" fmla="*/ 3591372 w 4787909"/>
              <a:gd name="connsiteY3" fmla="*/ 3066708 h 3075807"/>
              <a:gd name="connsiteX4" fmla="*/ 0 w 4787909"/>
              <a:gd name="connsiteY4" fmla="*/ 3075807 h 3075807"/>
              <a:gd name="connsiteX5" fmla="*/ 0 w 4787909"/>
              <a:gd name="connsiteY5" fmla="*/ 0 h 30758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87909" h="3075807">
                <a:moveTo>
                  <a:pt x="0" y="0"/>
                </a:moveTo>
                <a:lnTo>
                  <a:pt x="3667186" y="0"/>
                </a:lnTo>
                <a:cubicBezTo>
                  <a:pt x="4286098" y="0"/>
                  <a:pt x="4795409" y="467401"/>
                  <a:pt x="4787826" y="1120640"/>
                </a:cubicBezTo>
                <a:cubicBezTo>
                  <a:pt x="4780243" y="1773879"/>
                  <a:pt x="3990190" y="2418019"/>
                  <a:pt x="3591372" y="3066708"/>
                </a:cubicBezTo>
                <a:lnTo>
                  <a:pt x="0" y="30758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alpha val="80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Textplatzhalter 15">
            <a:extLst>
              <a:ext uri="{FF2B5EF4-FFF2-40B4-BE49-F238E27FC236}">
                <a16:creationId xmlns:a16="http://schemas.microsoft.com/office/drawing/2014/main" id="{45EADBF2-1FED-764F-A7B1-C620D1AED5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479779" y="2984610"/>
            <a:ext cx="4695488" cy="1846660"/>
          </a:xfrm>
          <a:noFill/>
        </p:spPr>
        <p:txBody>
          <a:bodyPr wrap="square">
            <a:spAutoFit/>
          </a:bodyPr>
          <a:lstStyle>
            <a:lvl1pPr marL="304792" indent="-304792">
              <a:lnSpc>
                <a:spcPct val="100000"/>
              </a:lnSpc>
              <a:buClr>
                <a:srgbClr val="00436E"/>
              </a:buClr>
              <a:buSzPct val="90000"/>
              <a:buFont typeface="+mj-lt"/>
              <a:buAutoNum type="arabicPeriod"/>
              <a:defRPr/>
            </a:lvl1pPr>
          </a:lstStyle>
          <a:p>
            <a:r>
              <a:rPr lang="de-DE" dirty="0"/>
              <a:t>Mastertextformat bearbeiten
Zweite Ebene
Dritte Ebene
Vierte Ebene
Fünfte Ebene</a:t>
            </a:r>
          </a:p>
        </p:txBody>
      </p:sp>
      <p:sp>
        <p:nvSpPr>
          <p:cNvPr id="7" name="Titel 13">
            <a:extLst>
              <a:ext uri="{FF2B5EF4-FFF2-40B4-BE49-F238E27FC236}">
                <a16:creationId xmlns:a16="http://schemas.microsoft.com/office/drawing/2014/main" id="{99FEBC68-FC27-8C4C-BFF6-C482AFBEACF9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479779" y="2180862"/>
            <a:ext cx="4695488" cy="574453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685800" rtl="0" eaLnBrk="1" latinLnBrk="0" hangingPunct="1">
              <a:spcBef>
                <a:spcPct val="0"/>
              </a:spcBef>
              <a:buNone/>
              <a:defRPr sz="1800" b="1" i="0" kern="1200">
                <a:solidFill>
                  <a:srgbClr val="00436E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r>
              <a:rPr lang="de-DE" sz="3733" dirty="0"/>
              <a:t>Agenda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8E3CC17E-6879-8540-A7D2-BED08E567E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034808" y="6519202"/>
            <a:ext cx="781877" cy="13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900">
                <a:solidFill>
                  <a:srgbClr val="00436E"/>
                </a:solidFill>
              </a:defRPr>
            </a:lvl1pPr>
          </a:lstStyle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22477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075C34E-D67F-4F51-8822-8A51342BF6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075C34E-D67F-4F51-8822-8A51342BF6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FFFDF00-EB47-48AD-8015-33B071A9EE2E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733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92DA89CF-8BE4-8E4D-9DB2-1CAE61396562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1">
              <a:alpha val="91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280CE830-87A9-8641-870F-2987C1093AE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 bwMode="gray">
          <a:xfrm>
            <a:off x="10742401" y="189001"/>
            <a:ext cx="1079481" cy="608159"/>
          </a:xfrm>
          <a:prstGeom prst="rect">
            <a:avLst/>
          </a:prstGeom>
        </p:spPr>
      </p:pic>
      <p:sp>
        <p:nvSpPr>
          <p:cNvPr id="10" name="Titelplatzhalter 3">
            <a:extLst>
              <a:ext uri="{FF2B5EF4-FFF2-40B4-BE49-F238E27FC236}">
                <a16:creationId xmlns:a16="http://schemas.microsoft.com/office/drawing/2014/main" id="{36829DAC-8473-C94D-AD8E-50133D3F04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096000" y="3717032"/>
            <a:ext cx="5720685" cy="17235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733">
                <a:solidFill>
                  <a:schemeClr val="bg1"/>
                </a:solidFill>
              </a:defRPr>
            </a:lvl1pPr>
          </a:lstStyle>
          <a:p>
            <a:r>
              <a:rPr lang="de-DE" dirty="0" err="1"/>
              <a:t>Kapiteltrenner</a:t>
            </a:r>
            <a:r>
              <a:rPr lang="de-DE" dirty="0"/>
              <a:t> für</a:t>
            </a:r>
            <a:br>
              <a:rPr lang="de-DE" dirty="0"/>
            </a:br>
            <a:r>
              <a:rPr lang="de-DE" dirty="0"/>
              <a:t>eine mehrzeilige</a:t>
            </a:r>
            <a:br>
              <a:rPr lang="de-DE" dirty="0"/>
            </a:br>
            <a:r>
              <a:rPr lang="de-DE" dirty="0"/>
              <a:t>Überschrift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767657B9-58E3-C641-B112-EB6975573F1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096000" y="2701940"/>
            <a:ext cx="2112235" cy="1366499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4267" b="1" i="0" spc="-40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0" indent="0" algn="l">
              <a:buNone/>
              <a:defRPr sz="20000" b="1">
                <a:solidFill>
                  <a:srgbClr val="DAE3E7"/>
                </a:solidFill>
              </a:defRPr>
            </a:lvl2pPr>
            <a:lvl3pPr marL="0" indent="0" algn="l">
              <a:buNone/>
              <a:defRPr sz="20000" b="1">
                <a:solidFill>
                  <a:srgbClr val="DAE3E7"/>
                </a:solidFill>
              </a:defRPr>
            </a:lvl3pPr>
            <a:lvl4pPr marL="0" indent="0" algn="l">
              <a:buNone/>
              <a:defRPr sz="20000" b="1">
                <a:solidFill>
                  <a:srgbClr val="DAE3E7"/>
                </a:solidFill>
              </a:defRPr>
            </a:lvl4pPr>
            <a:lvl5pPr marL="0" indent="0" algn="l">
              <a:buNone/>
              <a:defRPr sz="20000" b="1">
                <a:solidFill>
                  <a:srgbClr val="DAE3E7"/>
                </a:solidFill>
              </a:defRPr>
            </a:lvl5pPr>
            <a:lvl6pPr marL="0" indent="0" algn="l">
              <a:buNone/>
              <a:defRPr sz="20000" b="1">
                <a:solidFill>
                  <a:srgbClr val="DAE3E7"/>
                </a:solidFill>
              </a:defRPr>
            </a:lvl6pPr>
            <a:lvl7pPr marL="0" indent="0" algn="l">
              <a:buNone/>
              <a:defRPr sz="20000" b="1">
                <a:solidFill>
                  <a:srgbClr val="DAE3E7"/>
                </a:solidFill>
              </a:defRPr>
            </a:lvl7pPr>
            <a:lvl8pPr marL="0" indent="0" algn="l">
              <a:buNone/>
              <a:defRPr sz="20000" b="1">
                <a:solidFill>
                  <a:srgbClr val="DAE3E7"/>
                </a:solidFill>
              </a:defRPr>
            </a:lvl8pPr>
            <a:lvl9pPr marL="0" indent="0" algn="l">
              <a:buNone/>
              <a:defRPr sz="20000" b="1">
                <a:solidFill>
                  <a:srgbClr val="DAE3E7"/>
                </a:solidFill>
              </a:defRPr>
            </a:lvl9pPr>
          </a:lstStyle>
          <a:p>
            <a:pPr lvl="0"/>
            <a:r>
              <a:rPr lang="de-DE" dirty="0"/>
              <a:t>1.</a:t>
            </a:r>
          </a:p>
        </p:txBody>
      </p:sp>
    </p:spTree>
    <p:extLst>
      <p:ext uri="{BB962C8B-B14F-4D97-AF65-F5344CB8AC3E}">
        <p14:creationId xmlns:p14="http://schemas.microsoft.com/office/powerpoint/2010/main" val="67419375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ohn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60F6E10-75F4-4390-9707-5401376246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260F6E10-75F4-4390-9707-5401376246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022986B2-9F22-49AE-B43B-3D2205CA3446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733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92DA89CF-8BE4-8E4D-9DB2-1CAE61396562}"/>
              </a:ext>
            </a:extLst>
          </p:cNvPr>
          <p:cNvSpPr/>
          <p:nvPr userDrawn="1"/>
        </p:nvSpPr>
        <p:spPr bwMode="gray">
          <a:xfrm>
            <a:off x="0" y="19200"/>
            <a:ext cx="12192000" cy="6310360"/>
          </a:xfrm>
          <a:prstGeom prst="rect">
            <a:avLst/>
          </a:prstGeom>
          <a:solidFill>
            <a:schemeClr val="accent1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280CE830-87A9-8641-870F-2987C1093AE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 bwMode="gray">
          <a:xfrm>
            <a:off x="10742401" y="189001"/>
            <a:ext cx="1079481" cy="608159"/>
          </a:xfrm>
          <a:prstGeom prst="rect">
            <a:avLst/>
          </a:prstGeom>
        </p:spPr>
      </p:pic>
      <p:sp>
        <p:nvSpPr>
          <p:cNvPr id="10" name="Titelplatzhalter 3">
            <a:extLst>
              <a:ext uri="{FF2B5EF4-FFF2-40B4-BE49-F238E27FC236}">
                <a16:creationId xmlns:a16="http://schemas.microsoft.com/office/drawing/2014/main" id="{CD755D38-70CD-2B45-AC23-CE403931C0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096000" y="3717032"/>
            <a:ext cx="5720685" cy="17235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733">
                <a:solidFill>
                  <a:schemeClr val="bg1"/>
                </a:solidFill>
              </a:defRPr>
            </a:lvl1pPr>
          </a:lstStyle>
          <a:p>
            <a:r>
              <a:rPr lang="de-DE" dirty="0" err="1"/>
              <a:t>Kapiteltrenner</a:t>
            </a:r>
            <a:r>
              <a:rPr lang="de-DE" dirty="0"/>
              <a:t> für</a:t>
            </a:r>
            <a:br>
              <a:rPr lang="de-DE" dirty="0"/>
            </a:br>
            <a:r>
              <a:rPr lang="de-DE" dirty="0"/>
              <a:t>eine mehrzeilige</a:t>
            </a:r>
            <a:br>
              <a:rPr lang="de-DE" dirty="0"/>
            </a:br>
            <a:r>
              <a:rPr lang="de-DE" dirty="0"/>
              <a:t>Überschrift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33BF8A3D-3793-0443-B93E-09566A7B45F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096000" y="2701940"/>
            <a:ext cx="2112235" cy="1366499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4267" b="1" i="0" spc="-40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0" indent="0" algn="l">
              <a:buNone/>
              <a:defRPr sz="20000" b="1">
                <a:solidFill>
                  <a:srgbClr val="DAE3E7"/>
                </a:solidFill>
              </a:defRPr>
            </a:lvl2pPr>
            <a:lvl3pPr marL="0" indent="0" algn="l">
              <a:buNone/>
              <a:defRPr sz="20000" b="1">
                <a:solidFill>
                  <a:srgbClr val="DAE3E7"/>
                </a:solidFill>
              </a:defRPr>
            </a:lvl3pPr>
            <a:lvl4pPr marL="0" indent="0" algn="l">
              <a:buNone/>
              <a:defRPr sz="20000" b="1">
                <a:solidFill>
                  <a:srgbClr val="DAE3E7"/>
                </a:solidFill>
              </a:defRPr>
            </a:lvl4pPr>
            <a:lvl5pPr marL="0" indent="0" algn="l">
              <a:buNone/>
              <a:defRPr sz="20000" b="1">
                <a:solidFill>
                  <a:srgbClr val="DAE3E7"/>
                </a:solidFill>
              </a:defRPr>
            </a:lvl5pPr>
            <a:lvl6pPr marL="0" indent="0" algn="l">
              <a:buNone/>
              <a:defRPr sz="20000" b="1">
                <a:solidFill>
                  <a:srgbClr val="DAE3E7"/>
                </a:solidFill>
              </a:defRPr>
            </a:lvl6pPr>
            <a:lvl7pPr marL="0" indent="0" algn="l">
              <a:buNone/>
              <a:defRPr sz="20000" b="1">
                <a:solidFill>
                  <a:srgbClr val="DAE3E7"/>
                </a:solidFill>
              </a:defRPr>
            </a:lvl7pPr>
            <a:lvl8pPr marL="0" indent="0" algn="l">
              <a:buNone/>
              <a:defRPr sz="20000" b="1">
                <a:solidFill>
                  <a:srgbClr val="DAE3E7"/>
                </a:solidFill>
              </a:defRPr>
            </a:lvl8pPr>
            <a:lvl9pPr marL="0" indent="0" algn="l">
              <a:buNone/>
              <a:defRPr sz="20000" b="1">
                <a:solidFill>
                  <a:srgbClr val="DAE3E7"/>
                </a:solidFill>
              </a:defRPr>
            </a:lvl9pPr>
          </a:lstStyle>
          <a:p>
            <a:pPr lvl="0"/>
            <a:r>
              <a:rPr lang="de-DE" dirty="0"/>
              <a:t>1.</a:t>
            </a:r>
          </a:p>
        </p:txBody>
      </p:sp>
    </p:spTree>
    <p:extLst>
      <p:ext uri="{BB962C8B-B14F-4D97-AF65-F5344CB8AC3E}">
        <p14:creationId xmlns:p14="http://schemas.microsoft.com/office/powerpoint/2010/main" val="75052593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C66EE6E-06F1-43F0-B57C-5925196621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9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C66EE6E-06F1-43F0-B57C-5925196621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0183FE30-5BAF-4571-BA23-5B57AE879E9E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375120" y="1597864"/>
            <a:ext cx="11441565" cy="4211603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75120" y="6026324"/>
            <a:ext cx="11441565" cy="139525"/>
          </a:xfrm>
        </p:spPr>
        <p:txBody>
          <a:bodyPr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2pPr>
            <a:lvl3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3pPr>
            <a:lvl4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4pPr>
            <a:lvl5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5pPr>
            <a:lvl6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6pPr>
            <a:lvl7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7pPr>
            <a:lvl8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8pPr>
            <a:lvl9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9pPr>
          </a:lstStyle>
          <a:p>
            <a:pPr lvl="0"/>
            <a:r>
              <a:rPr lang="de-DE" dirty="0"/>
              <a:t>Quellenangabe optional (9 </a:t>
            </a:r>
            <a:r>
              <a:rPr lang="de-DE" dirty="0" err="1"/>
              <a:t>pt</a:t>
            </a:r>
            <a:r>
              <a:rPr lang="de-DE" dirty="0"/>
              <a:t>, Akzent 5)</a:t>
            </a:r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895FAA41-B9C2-264B-8864-1D7070BB25B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itel 7">
            <a:extLst>
              <a:ext uri="{FF2B5EF4-FFF2-40B4-BE49-F238E27FC236}">
                <a16:creationId xmlns:a16="http://schemas.microsoft.com/office/drawing/2014/main" id="{8B635CCD-77EB-0549-8093-5A0D1FB5BB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5120" y="401946"/>
            <a:ext cx="8846773" cy="818809"/>
          </a:xfrm>
        </p:spPr>
        <p:txBody>
          <a:bodyPr vert="horz"/>
          <a:lstStyle/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473587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4F0482D-F9F1-46C5-8A5F-A2CD74DE34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4F0482D-F9F1-46C5-8A5F-A2CD74DE34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0AC973FB-0578-4D5F-BFB3-8FE753C157F2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75120" y="6018470"/>
            <a:ext cx="11441565" cy="147381"/>
          </a:xfrm>
        </p:spPr>
        <p:txBody>
          <a:bodyPr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2pPr>
            <a:lvl3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3pPr>
            <a:lvl4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4pPr>
            <a:lvl5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5pPr>
            <a:lvl6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6pPr>
            <a:lvl7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7pPr>
            <a:lvl8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8pPr>
            <a:lvl9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9pPr>
          </a:lstStyle>
          <a:p>
            <a:pPr lvl="0"/>
            <a:r>
              <a:rPr lang="de-DE" dirty="0"/>
              <a:t>Quellenangabe optional (9 </a:t>
            </a:r>
            <a:r>
              <a:rPr lang="de-DE" dirty="0" err="1"/>
              <a:t>pt</a:t>
            </a:r>
            <a:r>
              <a:rPr lang="de-DE" dirty="0"/>
              <a:t>, Akzent 5)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7DAD3784-E112-6145-A9E9-43B5427F7939}"/>
              </a:ext>
            </a:extLst>
          </p:cNvPr>
          <p:cNvSpPr>
            <a:spLocks noGrp="1"/>
          </p:cNvSpPr>
          <p:nvPr>
            <p:ph idx="15" hasCustomPrompt="1"/>
          </p:nvPr>
        </p:nvSpPr>
        <p:spPr bwMode="gray">
          <a:xfrm>
            <a:off x="375122" y="1597865"/>
            <a:ext cx="5536581" cy="4211601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7CE18B71-F720-FC4F-B508-963D4F84CEA3}"/>
              </a:ext>
            </a:extLst>
          </p:cNvPr>
          <p:cNvSpPr>
            <a:spLocks noGrp="1"/>
          </p:cNvSpPr>
          <p:nvPr>
            <p:ph idx="16" hasCustomPrompt="1"/>
          </p:nvPr>
        </p:nvSpPr>
        <p:spPr bwMode="gray">
          <a:xfrm>
            <a:off x="6283560" y="1615011"/>
            <a:ext cx="5533125" cy="4183108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E7C3063-F322-A14A-BF08-AB4FEECDE2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58282FBF-09F9-E543-89CB-23C4498C179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470408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9876769-6EA5-4B7D-8A5B-691C207E3F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744F2E9-BE4F-4A9F-B985-9EF9664144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05D3FCD-311D-4940-9133-CFE8844153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29AC28-46CA-4A3A-A9A7-1CDC9B4A5D77}" type="datetime1">
              <a:rPr lang="de-DE" smtClean="0"/>
              <a:t>25.09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9886724-FB6A-45FD-8C8E-4E242F380A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Umfrage vom 20.7.2023 bis 11.08.2023; Teilnahmequote: 75 Prozent der Mitgliedsbanken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BB1FDB2-DEF0-4A85-A97E-F45A6563D4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0676B-BFEB-47E1-A313-420DA8D05D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3550723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C2C8DD1-32FD-4CC5-A75D-C820933DF9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4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FC2C8DD1-32FD-4CC5-A75D-C820933DF9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3132764B-4544-4F5C-AFB2-454E069F8DC7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A09BCE09-46B1-694C-9326-F0A98ECA9821}"/>
              </a:ext>
            </a:extLst>
          </p:cNvPr>
          <p:cNvSpPr>
            <a:spLocks noGrp="1"/>
          </p:cNvSpPr>
          <p:nvPr>
            <p:ph idx="16" hasCustomPrompt="1"/>
          </p:nvPr>
        </p:nvSpPr>
        <p:spPr bwMode="gray">
          <a:xfrm>
            <a:off x="375120" y="1597865"/>
            <a:ext cx="3552000" cy="4219457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0" name="Titel 19">
            <a:extLst>
              <a:ext uri="{FF2B5EF4-FFF2-40B4-BE49-F238E27FC236}">
                <a16:creationId xmlns:a16="http://schemas.microsoft.com/office/drawing/2014/main" id="{9531FF05-4722-574A-A159-7A35849C48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22" name="Foliennummernplatzhalter 21">
            <a:extLst>
              <a:ext uri="{FF2B5EF4-FFF2-40B4-BE49-F238E27FC236}">
                <a16:creationId xmlns:a16="http://schemas.microsoft.com/office/drawing/2014/main" id="{C1DAF1BA-00E7-2646-90CE-1E68727177F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F0DE20CA-7B4B-BD46-B525-5F565C01C8E6}"/>
              </a:ext>
            </a:extLst>
          </p:cNvPr>
          <p:cNvSpPr>
            <a:spLocks noGrp="1"/>
          </p:cNvSpPr>
          <p:nvPr>
            <p:ph idx="21" hasCustomPrompt="1"/>
          </p:nvPr>
        </p:nvSpPr>
        <p:spPr bwMode="gray">
          <a:xfrm>
            <a:off x="8260912" y="1597865"/>
            <a:ext cx="3552000" cy="4219457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1F3FA661-92A0-AA47-8263-DF7FBA677707}"/>
              </a:ext>
            </a:extLst>
          </p:cNvPr>
          <p:cNvSpPr>
            <a:spLocks noGrp="1"/>
          </p:cNvSpPr>
          <p:nvPr>
            <p:ph idx="22" hasCustomPrompt="1"/>
          </p:nvPr>
        </p:nvSpPr>
        <p:spPr bwMode="gray">
          <a:xfrm>
            <a:off x="4320000" y="1597865"/>
            <a:ext cx="3552000" cy="4219457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19A1E30D-458A-EF4B-A957-67108981A30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75120" y="6026324"/>
            <a:ext cx="11441565" cy="139525"/>
          </a:xfrm>
        </p:spPr>
        <p:txBody>
          <a:bodyPr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2pPr>
            <a:lvl3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3pPr>
            <a:lvl4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4pPr>
            <a:lvl5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5pPr>
            <a:lvl6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6pPr>
            <a:lvl7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7pPr>
            <a:lvl8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8pPr>
            <a:lvl9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9pPr>
          </a:lstStyle>
          <a:p>
            <a:pPr lvl="0"/>
            <a:r>
              <a:rPr lang="de-DE" dirty="0"/>
              <a:t>Quellenangabe optional (9 </a:t>
            </a:r>
            <a:r>
              <a:rPr lang="de-DE" dirty="0" err="1"/>
              <a:t>pt</a:t>
            </a:r>
            <a:r>
              <a:rPr lang="de-DE" dirty="0"/>
              <a:t>, Akzent 5)</a:t>
            </a:r>
          </a:p>
        </p:txBody>
      </p:sp>
    </p:spTree>
    <p:extLst>
      <p:ext uri="{BB962C8B-B14F-4D97-AF65-F5344CB8AC3E}">
        <p14:creationId xmlns:p14="http://schemas.microsoft.com/office/powerpoint/2010/main" val="270277133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Logo und Qu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836A7F2-8C23-4DE3-B6B6-40DA15E866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836A7F2-8C23-4DE3-B6B6-40DA15E866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1373306B-CFCD-44B1-922C-FBD7940AFBD7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FDB5D75A-9EDE-804F-B5A6-67AD0CDCF6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9E80B84-78F0-E64C-97D8-2A45454DE7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B77B6A1-0102-4E4B-B167-7DE7744BE5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75120" y="6026324"/>
            <a:ext cx="11441565" cy="139525"/>
          </a:xfrm>
        </p:spPr>
        <p:txBody>
          <a:bodyPr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2pPr>
            <a:lvl3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3pPr>
            <a:lvl4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4pPr>
            <a:lvl5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5pPr>
            <a:lvl6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6pPr>
            <a:lvl7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7pPr>
            <a:lvl8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8pPr>
            <a:lvl9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9pPr>
          </a:lstStyle>
          <a:p>
            <a:pPr lvl="0"/>
            <a:r>
              <a:rPr lang="de-DE" dirty="0"/>
              <a:t>Quellenangabe optional (9 </a:t>
            </a:r>
            <a:r>
              <a:rPr lang="de-DE" dirty="0" err="1"/>
              <a:t>pt</a:t>
            </a:r>
            <a:r>
              <a:rPr lang="de-DE" dirty="0"/>
              <a:t>, Akzent 5)</a:t>
            </a:r>
          </a:p>
        </p:txBody>
      </p:sp>
    </p:spTree>
    <p:extLst>
      <p:ext uri="{BB962C8B-B14F-4D97-AF65-F5344CB8AC3E}">
        <p14:creationId xmlns:p14="http://schemas.microsoft.com/office/powerpoint/2010/main" val="357726638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u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0556CD6-BFFE-471F-A2A9-AD8C93E23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9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0556CD6-BFFE-471F-A2A9-AD8C93E233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DEE9BA89-E84E-4A6A-8DAE-8E2D71363E30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2667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3E2E4F9-ACFB-BB4D-ACE7-5D32471AA2F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itel 6">
            <a:extLst>
              <a:ext uri="{FF2B5EF4-FFF2-40B4-BE49-F238E27FC236}">
                <a16:creationId xmlns:a16="http://schemas.microsoft.com/office/drawing/2014/main" id="{0F46E900-8C2C-D04A-8BDC-AEDA326BC1E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5120" y="401946"/>
            <a:ext cx="8846773" cy="818809"/>
          </a:xfrm>
        </p:spPr>
        <p:txBody>
          <a:bodyPr vert="horz">
            <a:noAutofit/>
          </a:bodyPr>
          <a:lstStyle>
            <a:lvl1pPr>
              <a:defRPr sz="2400"/>
            </a:lvl1pPr>
          </a:lstStyle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7114907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EB44503-34A1-4648-BD0B-7F89B685D6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1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EB44503-34A1-4648-BD0B-7F89B685D6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67904795-D69D-49F3-B76D-A2E8A3AAAD5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3E2E4F9-ACFB-BB4D-ACE7-5D32471AA2F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FADD7066-768E-CB44-AE5D-C943FBFA7DB5}"/>
              </a:ext>
            </a:extLst>
          </p:cNvPr>
          <p:cNvSpPr/>
          <p:nvPr userDrawn="1"/>
        </p:nvSpPr>
        <p:spPr bwMode="gray">
          <a:xfrm>
            <a:off x="0" y="6310360"/>
            <a:ext cx="12192000" cy="19200"/>
          </a:xfrm>
          <a:prstGeom prst="rect">
            <a:avLst/>
          </a:prstGeom>
          <a:solidFill>
            <a:srgbClr val="DAE3E7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C3A7511A-B299-2748-860A-C3D21DA7E37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5120" y="401946"/>
            <a:ext cx="8846773" cy="818809"/>
          </a:xfrm>
        </p:spPr>
        <p:txBody>
          <a:bodyPr vert="horz">
            <a:normAutofit/>
          </a:bodyPr>
          <a:lstStyle>
            <a:lvl1pPr>
              <a:defRPr sz="2400"/>
            </a:lvl1pPr>
          </a:lstStyle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31352077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(bla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81002DC-9222-4C9D-966A-B1BD120308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3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81002DC-9222-4C9D-966A-B1BD120308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E92D4AD6-8FB3-48E4-99A6-B784AE25C9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A6131002-C7FB-3C4C-B771-1C5B69286B4B}"/>
              </a:ext>
            </a:extLst>
          </p:cNvPr>
          <p:cNvSpPr/>
          <p:nvPr userDrawn="1"/>
        </p:nvSpPr>
        <p:spPr bwMode="gray">
          <a:xfrm>
            <a:off x="0" y="0"/>
            <a:ext cx="12192000" cy="6309320"/>
          </a:xfrm>
          <a:prstGeom prst="rect">
            <a:avLst/>
          </a:prstGeom>
          <a:solidFill>
            <a:srgbClr val="003D6E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3E2E4F9-ACFB-BB4D-ACE7-5D32471AA2F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FADD7066-768E-CB44-AE5D-C943FBFA7DB5}"/>
              </a:ext>
            </a:extLst>
          </p:cNvPr>
          <p:cNvSpPr/>
          <p:nvPr userDrawn="1"/>
        </p:nvSpPr>
        <p:spPr bwMode="gray">
          <a:xfrm>
            <a:off x="0" y="6310360"/>
            <a:ext cx="12192000" cy="19200"/>
          </a:xfrm>
          <a:prstGeom prst="rect">
            <a:avLst/>
          </a:prstGeom>
          <a:solidFill>
            <a:srgbClr val="DAE3E7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E75AD089-1293-A340-B385-08232FF2AC3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5120" y="401946"/>
            <a:ext cx="8846773" cy="818809"/>
          </a:xfrm>
        </p:spPr>
        <p:txBody>
          <a:bodyPr vert="horz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38879544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195A08BF-AD9B-4482-9887-EF212774C3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6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195A08BF-AD9B-4482-9887-EF212774C3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32EF4DD2-2EA6-439E-8861-53C760CCB41D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210E971-0939-CE42-A711-A466490B918B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8" name="Foliennummernplatzhalter 37">
            <a:extLst>
              <a:ext uri="{FF2B5EF4-FFF2-40B4-BE49-F238E27FC236}">
                <a16:creationId xmlns:a16="http://schemas.microsoft.com/office/drawing/2014/main" id="{7EE03712-35B2-664E-BB92-4F701AA346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4229DBA0-257E-5047-B4B6-8E9486DC749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 bwMode="gray">
          <a:xfrm>
            <a:off x="10742401" y="189001"/>
            <a:ext cx="1079481" cy="608159"/>
          </a:xfrm>
          <a:prstGeom prst="rect">
            <a:avLst/>
          </a:prstGeom>
        </p:spPr>
      </p:pic>
      <p:sp>
        <p:nvSpPr>
          <p:cNvPr id="10" name="Freihandform 9">
            <a:extLst>
              <a:ext uri="{FF2B5EF4-FFF2-40B4-BE49-F238E27FC236}">
                <a16:creationId xmlns:a16="http://schemas.microsoft.com/office/drawing/2014/main" id="{FB4D81D2-FAD6-314C-A638-33A0E7D9031C}"/>
              </a:ext>
            </a:extLst>
          </p:cNvPr>
          <p:cNvSpPr/>
          <p:nvPr userDrawn="1"/>
        </p:nvSpPr>
        <p:spPr bwMode="gray">
          <a:xfrm>
            <a:off x="388913" y="1090627"/>
            <a:ext cx="6624007" cy="292413"/>
          </a:xfrm>
          <a:custGeom>
            <a:avLst/>
            <a:gdLst>
              <a:gd name="connsiteX0" fmla="*/ 0 w 1389413"/>
              <a:gd name="connsiteY0" fmla="*/ 0 h 184067"/>
              <a:gd name="connsiteX1" fmla="*/ 575953 w 1389413"/>
              <a:gd name="connsiteY1" fmla="*/ 0 h 184067"/>
              <a:gd name="connsiteX2" fmla="*/ 575953 w 1389413"/>
              <a:gd name="connsiteY2" fmla="*/ 184067 h 184067"/>
              <a:gd name="connsiteX3" fmla="*/ 748145 w 1389413"/>
              <a:gd name="connsiteY3" fmla="*/ 11875 h 184067"/>
              <a:gd name="connsiteX4" fmla="*/ 1389413 w 1389413"/>
              <a:gd name="connsiteY4" fmla="*/ 11875 h 184067"/>
              <a:gd name="connsiteX0" fmla="*/ 0 w 1389413"/>
              <a:gd name="connsiteY0" fmla="*/ 0 h 184067"/>
              <a:gd name="connsiteX1" fmla="*/ 575953 w 1389413"/>
              <a:gd name="connsiteY1" fmla="*/ 0 h 184067"/>
              <a:gd name="connsiteX2" fmla="*/ 575953 w 1389413"/>
              <a:gd name="connsiteY2" fmla="*/ 184067 h 184067"/>
              <a:gd name="connsiteX3" fmla="*/ 666083 w 1389413"/>
              <a:gd name="connsiteY3" fmla="*/ 7774 h 184067"/>
              <a:gd name="connsiteX4" fmla="*/ 1389413 w 1389413"/>
              <a:gd name="connsiteY4" fmla="*/ 11875 h 184067"/>
              <a:gd name="connsiteX0" fmla="*/ 0 w 1288413"/>
              <a:gd name="connsiteY0" fmla="*/ 0 h 184067"/>
              <a:gd name="connsiteX1" fmla="*/ 575953 w 1288413"/>
              <a:gd name="connsiteY1" fmla="*/ 0 h 184067"/>
              <a:gd name="connsiteX2" fmla="*/ 575953 w 1288413"/>
              <a:gd name="connsiteY2" fmla="*/ 184067 h 184067"/>
              <a:gd name="connsiteX3" fmla="*/ 666083 w 1288413"/>
              <a:gd name="connsiteY3" fmla="*/ 7774 h 184067"/>
              <a:gd name="connsiteX4" fmla="*/ 1288413 w 1288413"/>
              <a:gd name="connsiteY4" fmla="*/ 11875 h 184067"/>
              <a:gd name="connsiteX0" fmla="*/ 0 w 1290042"/>
              <a:gd name="connsiteY0" fmla="*/ 0 h 184067"/>
              <a:gd name="connsiteX1" fmla="*/ 575953 w 1290042"/>
              <a:gd name="connsiteY1" fmla="*/ 0 h 184067"/>
              <a:gd name="connsiteX2" fmla="*/ 575953 w 1290042"/>
              <a:gd name="connsiteY2" fmla="*/ 184067 h 184067"/>
              <a:gd name="connsiteX3" fmla="*/ 666083 w 1290042"/>
              <a:gd name="connsiteY3" fmla="*/ 7774 h 184067"/>
              <a:gd name="connsiteX4" fmla="*/ 1290042 w 1290042"/>
              <a:gd name="connsiteY4" fmla="*/ 8700 h 184067"/>
              <a:gd name="connsiteX0" fmla="*/ 0 w 1290042"/>
              <a:gd name="connsiteY0" fmla="*/ 0 h 184067"/>
              <a:gd name="connsiteX1" fmla="*/ 575953 w 1290042"/>
              <a:gd name="connsiteY1" fmla="*/ 0 h 184067"/>
              <a:gd name="connsiteX2" fmla="*/ 575953 w 1290042"/>
              <a:gd name="connsiteY2" fmla="*/ 184067 h 184067"/>
              <a:gd name="connsiteX3" fmla="*/ 708067 w 1290042"/>
              <a:gd name="connsiteY3" fmla="*/ 7774 h 184067"/>
              <a:gd name="connsiteX4" fmla="*/ 1290042 w 1290042"/>
              <a:gd name="connsiteY4" fmla="*/ 8700 h 184067"/>
              <a:gd name="connsiteX0" fmla="*/ 0 w 1290042"/>
              <a:gd name="connsiteY0" fmla="*/ 0 h 208130"/>
              <a:gd name="connsiteX1" fmla="*/ 575953 w 1290042"/>
              <a:gd name="connsiteY1" fmla="*/ 0 h 208130"/>
              <a:gd name="connsiteX2" fmla="*/ 575953 w 1290042"/>
              <a:gd name="connsiteY2" fmla="*/ 208130 h 208130"/>
              <a:gd name="connsiteX3" fmla="*/ 708067 w 1290042"/>
              <a:gd name="connsiteY3" fmla="*/ 7774 h 208130"/>
              <a:gd name="connsiteX4" fmla="*/ 1290042 w 1290042"/>
              <a:gd name="connsiteY4" fmla="*/ 8700 h 208130"/>
              <a:gd name="connsiteX0" fmla="*/ 0 w 1290042"/>
              <a:gd name="connsiteY0" fmla="*/ 0 h 208130"/>
              <a:gd name="connsiteX1" fmla="*/ 482107 w 1290042"/>
              <a:gd name="connsiteY1" fmla="*/ 0 h 208130"/>
              <a:gd name="connsiteX2" fmla="*/ 575953 w 1290042"/>
              <a:gd name="connsiteY2" fmla="*/ 208130 h 208130"/>
              <a:gd name="connsiteX3" fmla="*/ 708067 w 1290042"/>
              <a:gd name="connsiteY3" fmla="*/ 7774 h 208130"/>
              <a:gd name="connsiteX4" fmla="*/ 1290042 w 1290042"/>
              <a:gd name="connsiteY4" fmla="*/ 8700 h 208130"/>
              <a:gd name="connsiteX0" fmla="*/ 0 w 1290042"/>
              <a:gd name="connsiteY0" fmla="*/ 0 h 212943"/>
              <a:gd name="connsiteX1" fmla="*/ 482107 w 1290042"/>
              <a:gd name="connsiteY1" fmla="*/ 0 h 212943"/>
              <a:gd name="connsiteX2" fmla="*/ 479637 w 1290042"/>
              <a:gd name="connsiteY2" fmla="*/ 212943 h 212943"/>
              <a:gd name="connsiteX3" fmla="*/ 708067 w 1290042"/>
              <a:gd name="connsiteY3" fmla="*/ 7774 h 212943"/>
              <a:gd name="connsiteX4" fmla="*/ 1290042 w 1290042"/>
              <a:gd name="connsiteY4" fmla="*/ 8700 h 212943"/>
              <a:gd name="connsiteX0" fmla="*/ 0 w 1290042"/>
              <a:gd name="connsiteY0" fmla="*/ 0 h 212943"/>
              <a:gd name="connsiteX1" fmla="*/ 482107 w 1290042"/>
              <a:gd name="connsiteY1" fmla="*/ 0 h 212943"/>
              <a:gd name="connsiteX2" fmla="*/ 479637 w 1290042"/>
              <a:gd name="connsiteY2" fmla="*/ 212943 h 212943"/>
              <a:gd name="connsiteX3" fmla="*/ 584585 w 1290042"/>
              <a:gd name="connsiteY3" fmla="*/ 7774 h 212943"/>
              <a:gd name="connsiteX4" fmla="*/ 1290042 w 1290042"/>
              <a:gd name="connsiteY4" fmla="*/ 8700 h 212943"/>
              <a:gd name="connsiteX0" fmla="*/ 0 w 1290042"/>
              <a:gd name="connsiteY0" fmla="*/ 0 h 217756"/>
              <a:gd name="connsiteX1" fmla="*/ 482107 w 1290042"/>
              <a:gd name="connsiteY1" fmla="*/ 0 h 217756"/>
              <a:gd name="connsiteX2" fmla="*/ 484577 w 1290042"/>
              <a:gd name="connsiteY2" fmla="*/ 217756 h 217756"/>
              <a:gd name="connsiteX3" fmla="*/ 584585 w 1290042"/>
              <a:gd name="connsiteY3" fmla="*/ 7774 h 217756"/>
              <a:gd name="connsiteX4" fmla="*/ 1290042 w 1290042"/>
              <a:gd name="connsiteY4" fmla="*/ 8700 h 217756"/>
              <a:gd name="connsiteX0" fmla="*/ 0 w 1290042"/>
              <a:gd name="connsiteY0" fmla="*/ 0 h 225572"/>
              <a:gd name="connsiteX1" fmla="*/ 482107 w 1290042"/>
              <a:gd name="connsiteY1" fmla="*/ 0 h 225572"/>
              <a:gd name="connsiteX2" fmla="*/ 480567 w 1290042"/>
              <a:gd name="connsiteY2" fmla="*/ 225572 h 225572"/>
              <a:gd name="connsiteX3" fmla="*/ 584585 w 1290042"/>
              <a:gd name="connsiteY3" fmla="*/ 7774 h 225572"/>
              <a:gd name="connsiteX4" fmla="*/ 1290042 w 1290042"/>
              <a:gd name="connsiteY4" fmla="*/ 8700 h 225572"/>
              <a:gd name="connsiteX0" fmla="*/ 0 w 1290042"/>
              <a:gd name="connsiteY0" fmla="*/ 0 h 225572"/>
              <a:gd name="connsiteX1" fmla="*/ 482107 w 1290042"/>
              <a:gd name="connsiteY1" fmla="*/ 0 h 225572"/>
              <a:gd name="connsiteX2" fmla="*/ 480567 w 1290042"/>
              <a:gd name="connsiteY2" fmla="*/ 225572 h 225572"/>
              <a:gd name="connsiteX3" fmla="*/ 600627 w 1290042"/>
              <a:gd name="connsiteY3" fmla="*/ 7774 h 225572"/>
              <a:gd name="connsiteX4" fmla="*/ 1290042 w 1290042"/>
              <a:gd name="connsiteY4" fmla="*/ 8700 h 225572"/>
              <a:gd name="connsiteX0" fmla="*/ 0 w 1381667"/>
              <a:gd name="connsiteY0" fmla="*/ 0 h 230983"/>
              <a:gd name="connsiteX1" fmla="*/ 573732 w 1381667"/>
              <a:gd name="connsiteY1" fmla="*/ 5411 h 230983"/>
              <a:gd name="connsiteX2" fmla="*/ 572192 w 1381667"/>
              <a:gd name="connsiteY2" fmla="*/ 230983 h 230983"/>
              <a:gd name="connsiteX3" fmla="*/ 692252 w 1381667"/>
              <a:gd name="connsiteY3" fmla="*/ 13185 h 230983"/>
              <a:gd name="connsiteX4" fmla="*/ 1381667 w 1381667"/>
              <a:gd name="connsiteY4" fmla="*/ 14111 h 230983"/>
              <a:gd name="connsiteX0" fmla="*/ 0 w 1881441"/>
              <a:gd name="connsiteY0" fmla="*/ 0 h 230983"/>
              <a:gd name="connsiteX1" fmla="*/ 573732 w 1881441"/>
              <a:gd name="connsiteY1" fmla="*/ 5411 h 230983"/>
              <a:gd name="connsiteX2" fmla="*/ 572192 w 1881441"/>
              <a:gd name="connsiteY2" fmla="*/ 230983 h 230983"/>
              <a:gd name="connsiteX3" fmla="*/ 692252 w 1881441"/>
              <a:gd name="connsiteY3" fmla="*/ 13185 h 230983"/>
              <a:gd name="connsiteX4" fmla="*/ 1881441 w 1881441"/>
              <a:gd name="connsiteY4" fmla="*/ 14111 h 230983"/>
              <a:gd name="connsiteX0" fmla="*/ 0 w 1884217"/>
              <a:gd name="connsiteY0" fmla="*/ 0 h 225573"/>
              <a:gd name="connsiteX1" fmla="*/ 576508 w 1884217"/>
              <a:gd name="connsiteY1" fmla="*/ 1 h 225573"/>
              <a:gd name="connsiteX2" fmla="*/ 574968 w 1884217"/>
              <a:gd name="connsiteY2" fmla="*/ 225573 h 225573"/>
              <a:gd name="connsiteX3" fmla="*/ 695028 w 1884217"/>
              <a:gd name="connsiteY3" fmla="*/ 7775 h 225573"/>
              <a:gd name="connsiteX4" fmla="*/ 1884217 w 1884217"/>
              <a:gd name="connsiteY4" fmla="*/ 8701 h 225573"/>
              <a:gd name="connsiteX0" fmla="*/ 0 w 1900876"/>
              <a:gd name="connsiteY0" fmla="*/ 0 h 225573"/>
              <a:gd name="connsiteX1" fmla="*/ 576508 w 1900876"/>
              <a:gd name="connsiteY1" fmla="*/ 1 h 225573"/>
              <a:gd name="connsiteX2" fmla="*/ 574968 w 1900876"/>
              <a:gd name="connsiteY2" fmla="*/ 225573 h 225573"/>
              <a:gd name="connsiteX3" fmla="*/ 695028 w 1900876"/>
              <a:gd name="connsiteY3" fmla="*/ 7775 h 225573"/>
              <a:gd name="connsiteX4" fmla="*/ 1900876 w 1900876"/>
              <a:gd name="connsiteY4" fmla="*/ 8701 h 225573"/>
              <a:gd name="connsiteX0" fmla="*/ 0 w 1917535"/>
              <a:gd name="connsiteY0" fmla="*/ 0 h 225573"/>
              <a:gd name="connsiteX1" fmla="*/ 593167 w 1917535"/>
              <a:gd name="connsiteY1" fmla="*/ 1 h 225573"/>
              <a:gd name="connsiteX2" fmla="*/ 591627 w 1917535"/>
              <a:gd name="connsiteY2" fmla="*/ 225573 h 225573"/>
              <a:gd name="connsiteX3" fmla="*/ 711687 w 1917535"/>
              <a:gd name="connsiteY3" fmla="*/ 7775 h 225573"/>
              <a:gd name="connsiteX4" fmla="*/ 1917535 w 1917535"/>
              <a:gd name="connsiteY4" fmla="*/ 8701 h 225573"/>
              <a:gd name="connsiteX0" fmla="*/ 0 w 1917535"/>
              <a:gd name="connsiteY0" fmla="*/ 0 h 219310"/>
              <a:gd name="connsiteX1" fmla="*/ 593167 w 1917535"/>
              <a:gd name="connsiteY1" fmla="*/ 1 h 219310"/>
              <a:gd name="connsiteX2" fmla="*/ 594841 w 1917535"/>
              <a:gd name="connsiteY2" fmla="*/ 219310 h 219310"/>
              <a:gd name="connsiteX3" fmla="*/ 711687 w 1917535"/>
              <a:gd name="connsiteY3" fmla="*/ 7775 h 219310"/>
              <a:gd name="connsiteX4" fmla="*/ 1917535 w 1917535"/>
              <a:gd name="connsiteY4" fmla="*/ 8701 h 219310"/>
              <a:gd name="connsiteX0" fmla="*/ 0 w 2071803"/>
              <a:gd name="connsiteY0" fmla="*/ 0 h 219310"/>
              <a:gd name="connsiteX1" fmla="*/ 593167 w 2071803"/>
              <a:gd name="connsiteY1" fmla="*/ 1 h 219310"/>
              <a:gd name="connsiteX2" fmla="*/ 594841 w 2071803"/>
              <a:gd name="connsiteY2" fmla="*/ 219310 h 219310"/>
              <a:gd name="connsiteX3" fmla="*/ 711687 w 2071803"/>
              <a:gd name="connsiteY3" fmla="*/ 7775 h 219310"/>
              <a:gd name="connsiteX4" fmla="*/ 2071803 w 2071803"/>
              <a:gd name="connsiteY4" fmla="*/ 8701 h 219310"/>
              <a:gd name="connsiteX0" fmla="*/ 0 w 1914321"/>
              <a:gd name="connsiteY0" fmla="*/ 0 h 219310"/>
              <a:gd name="connsiteX1" fmla="*/ 593167 w 1914321"/>
              <a:gd name="connsiteY1" fmla="*/ 1 h 219310"/>
              <a:gd name="connsiteX2" fmla="*/ 594841 w 1914321"/>
              <a:gd name="connsiteY2" fmla="*/ 219310 h 219310"/>
              <a:gd name="connsiteX3" fmla="*/ 711687 w 1914321"/>
              <a:gd name="connsiteY3" fmla="*/ 7775 h 219310"/>
              <a:gd name="connsiteX4" fmla="*/ 1914321 w 1914321"/>
              <a:gd name="connsiteY4" fmla="*/ 8701 h 219310"/>
              <a:gd name="connsiteX0" fmla="*/ 0 w 2549372"/>
              <a:gd name="connsiteY0" fmla="*/ 0 h 219310"/>
              <a:gd name="connsiteX1" fmla="*/ 593167 w 2549372"/>
              <a:gd name="connsiteY1" fmla="*/ 1 h 219310"/>
              <a:gd name="connsiteX2" fmla="*/ 594841 w 2549372"/>
              <a:gd name="connsiteY2" fmla="*/ 219310 h 219310"/>
              <a:gd name="connsiteX3" fmla="*/ 711687 w 2549372"/>
              <a:gd name="connsiteY3" fmla="*/ 7775 h 219310"/>
              <a:gd name="connsiteX4" fmla="*/ 2549372 w 2549372"/>
              <a:gd name="connsiteY4" fmla="*/ 8701 h 21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49372" h="219310">
                <a:moveTo>
                  <a:pt x="0" y="0"/>
                </a:moveTo>
                <a:lnTo>
                  <a:pt x="593167" y="1"/>
                </a:lnTo>
                <a:cubicBezTo>
                  <a:pt x="592344" y="70982"/>
                  <a:pt x="595664" y="148329"/>
                  <a:pt x="594841" y="219310"/>
                </a:cubicBezTo>
                <a:lnTo>
                  <a:pt x="711687" y="7775"/>
                </a:lnTo>
                <a:lnTo>
                  <a:pt x="2549372" y="8701"/>
                </a:lnTo>
              </a:path>
            </a:pathLst>
          </a:custGeom>
          <a:noFill/>
          <a:ln w="50800">
            <a:solidFill>
              <a:schemeClr val="bg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11" name="Titelplatzhalter 3">
            <a:extLst>
              <a:ext uri="{FF2B5EF4-FFF2-40B4-BE49-F238E27FC236}">
                <a16:creationId xmlns:a16="http://schemas.microsoft.com/office/drawing/2014/main" id="{0B9AEEA4-AA9E-134C-AEBE-5AAF121576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5120" y="401945"/>
            <a:ext cx="8846773" cy="49244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Unser Experte für Ihre Fragen</a:t>
            </a:r>
          </a:p>
        </p:txBody>
      </p:sp>
      <p:sp>
        <p:nvSpPr>
          <p:cNvPr id="12" name="Bildplatzhalter 39">
            <a:extLst>
              <a:ext uri="{FF2B5EF4-FFF2-40B4-BE49-F238E27FC236}">
                <a16:creationId xmlns:a16="http://schemas.microsoft.com/office/drawing/2014/main" id="{E9F52A5B-0F33-8444-BA6F-DAA6126FF7F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 bwMode="gray">
          <a:xfrm>
            <a:off x="392970" y="1583506"/>
            <a:ext cx="2400300" cy="2252133"/>
          </a:xfrm>
          <a:prstGeom prst="round1Rect">
            <a:avLst/>
          </a:prstGeom>
        </p:spPr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562153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mit Bild (2 Person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5F241B4-2401-440E-B5C2-1A2B78E67E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85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5F241B4-2401-440E-B5C2-1A2B78E67E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CF5B52F-5C34-44FA-9374-2113F80BF91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210E971-0939-CE42-A711-A466490B918B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8" name="Foliennummernplatzhalter 37">
            <a:extLst>
              <a:ext uri="{FF2B5EF4-FFF2-40B4-BE49-F238E27FC236}">
                <a16:creationId xmlns:a16="http://schemas.microsoft.com/office/drawing/2014/main" id="{7EE03712-35B2-664E-BB92-4F701AA346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51A8779E-C583-194F-A205-69B94A29BDF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 bwMode="gray">
          <a:xfrm>
            <a:off x="10742401" y="189001"/>
            <a:ext cx="1079481" cy="608159"/>
          </a:xfrm>
          <a:prstGeom prst="rect">
            <a:avLst/>
          </a:prstGeom>
        </p:spPr>
      </p:pic>
      <p:sp>
        <p:nvSpPr>
          <p:cNvPr id="16" name="Bildplatzhalter 39">
            <a:extLst>
              <a:ext uri="{FF2B5EF4-FFF2-40B4-BE49-F238E27FC236}">
                <a16:creationId xmlns:a16="http://schemas.microsoft.com/office/drawing/2014/main" id="{97AC3224-CD5A-904C-9BA3-A1AC08CA9AA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 bwMode="gray">
          <a:xfrm>
            <a:off x="392970" y="1583506"/>
            <a:ext cx="2400300" cy="2252133"/>
          </a:xfrm>
          <a:prstGeom prst="round1Rect">
            <a:avLst/>
          </a:prstGeom>
        </p:spPr>
        <p:txBody>
          <a:bodyPr/>
          <a:lstStyle/>
          <a:p>
            <a:endParaRPr lang="de-DE" dirty="0"/>
          </a:p>
        </p:txBody>
      </p:sp>
      <p:sp>
        <p:nvSpPr>
          <p:cNvPr id="17" name="Bildplatzhalter 39">
            <a:extLst>
              <a:ext uri="{FF2B5EF4-FFF2-40B4-BE49-F238E27FC236}">
                <a16:creationId xmlns:a16="http://schemas.microsoft.com/office/drawing/2014/main" id="{9FDDCEA1-4E9A-9C46-8789-9280984BFE9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5960970" y="1583506"/>
            <a:ext cx="2400300" cy="2252133"/>
          </a:xfrm>
          <a:prstGeom prst="round1Rect">
            <a:avLst/>
          </a:prstGeom>
        </p:spPr>
        <p:txBody>
          <a:bodyPr/>
          <a:lstStyle/>
          <a:p>
            <a:endParaRPr lang="de-DE" dirty="0"/>
          </a:p>
        </p:txBody>
      </p:sp>
      <p:sp>
        <p:nvSpPr>
          <p:cNvPr id="20" name="Freihandform 19">
            <a:extLst>
              <a:ext uri="{FF2B5EF4-FFF2-40B4-BE49-F238E27FC236}">
                <a16:creationId xmlns:a16="http://schemas.microsoft.com/office/drawing/2014/main" id="{77DBF0F3-FED9-7A45-98F9-BC7714B4A6E2}"/>
              </a:ext>
            </a:extLst>
          </p:cNvPr>
          <p:cNvSpPr/>
          <p:nvPr userDrawn="1"/>
        </p:nvSpPr>
        <p:spPr bwMode="gray">
          <a:xfrm>
            <a:off x="388913" y="1088750"/>
            <a:ext cx="7170695" cy="292413"/>
          </a:xfrm>
          <a:custGeom>
            <a:avLst/>
            <a:gdLst>
              <a:gd name="connsiteX0" fmla="*/ 0 w 1389413"/>
              <a:gd name="connsiteY0" fmla="*/ 0 h 184067"/>
              <a:gd name="connsiteX1" fmla="*/ 575953 w 1389413"/>
              <a:gd name="connsiteY1" fmla="*/ 0 h 184067"/>
              <a:gd name="connsiteX2" fmla="*/ 575953 w 1389413"/>
              <a:gd name="connsiteY2" fmla="*/ 184067 h 184067"/>
              <a:gd name="connsiteX3" fmla="*/ 748145 w 1389413"/>
              <a:gd name="connsiteY3" fmla="*/ 11875 h 184067"/>
              <a:gd name="connsiteX4" fmla="*/ 1389413 w 1389413"/>
              <a:gd name="connsiteY4" fmla="*/ 11875 h 184067"/>
              <a:gd name="connsiteX0" fmla="*/ 0 w 1389413"/>
              <a:gd name="connsiteY0" fmla="*/ 0 h 184067"/>
              <a:gd name="connsiteX1" fmla="*/ 575953 w 1389413"/>
              <a:gd name="connsiteY1" fmla="*/ 0 h 184067"/>
              <a:gd name="connsiteX2" fmla="*/ 575953 w 1389413"/>
              <a:gd name="connsiteY2" fmla="*/ 184067 h 184067"/>
              <a:gd name="connsiteX3" fmla="*/ 666083 w 1389413"/>
              <a:gd name="connsiteY3" fmla="*/ 7774 h 184067"/>
              <a:gd name="connsiteX4" fmla="*/ 1389413 w 1389413"/>
              <a:gd name="connsiteY4" fmla="*/ 11875 h 184067"/>
              <a:gd name="connsiteX0" fmla="*/ 0 w 1288413"/>
              <a:gd name="connsiteY0" fmla="*/ 0 h 184067"/>
              <a:gd name="connsiteX1" fmla="*/ 575953 w 1288413"/>
              <a:gd name="connsiteY1" fmla="*/ 0 h 184067"/>
              <a:gd name="connsiteX2" fmla="*/ 575953 w 1288413"/>
              <a:gd name="connsiteY2" fmla="*/ 184067 h 184067"/>
              <a:gd name="connsiteX3" fmla="*/ 666083 w 1288413"/>
              <a:gd name="connsiteY3" fmla="*/ 7774 h 184067"/>
              <a:gd name="connsiteX4" fmla="*/ 1288413 w 1288413"/>
              <a:gd name="connsiteY4" fmla="*/ 11875 h 184067"/>
              <a:gd name="connsiteX0" fmla="*/ 0 w 1290042"/>
              <a:gd name="connsiteY0" fmla="*/ 0 h 184067"/>
              <a:gd name="connsiteX1" fmla="*/ 575953 w 1290042"/>
              <a:gd name="connsiteY1" fmla="*/ 0 h 184067"/>
              <a:gd name="connsiteX2" fmla="*/ 575953 w 1290042"/>
              <a:gd name="connsiteY2" fmla="*/ 184067 h 184067"/>
              <a:gd name="connsiteX3" fmla="*/ 666083 w 1290042"/>
              <a:gd name="connsiteY3" fmla="*/ 7774 h 184067"/>
              <a:gd name="connsiteX4" fmla="*/ 1290042 w 1290042"/>
              <a:gd name="connsiteY4" fmla="*/ 8700 h 184067"/>
              <a:gd name="connsiteX0" fmla="*/ 0 w 1290042"/>
              <a:gd name="connsiteY0" fmla="*/ 0 h 184067"/>
              <a:gd name="connsiteX1" fmla="*/ 575953 w 1290042"/>
              <a:gd name="connsiteY1" fmla="*/ 0 h 184067"/>
              <a:gd name="connsiteX2" fmla="*/ 575953 w 1290042"/>
              <a:gd name="connsiteY2" fmla="*/ 184067 h 184067"/>
              <a:gd name="connsiteX3" fmla="*/ 708067 w 1290042"/>
              <a:gd name="connsiteY3" fmla="*/ 7774 h 184067"/>
              <a:gd name="connsiteX4" fmla="*/ 1290042 w 1290042"/>
              <a:gd name="connsiteY4" fmla="*/ 8700 h 184067"/>
              <a:gd name="connsiteX0" fmla="*/ 0 w 1290042"/>
              <a:gd name="connsiteY0" fmla="*/ 0 h 208130"/>
              <a:gd name="connsiteX1" fmla="*/ 575953 w 1290042"/>
              <a:gd name="connsiteY1" fmla="*/ 0 h 208130"/>
              <a:gd name="connsiteX2" fmla="*/ 575953 w 1290042"/>
              <a:gd name="connsiteY2" fmla="*/ 208130 h 208130"/>
              <a:gd name="connsiteX3" fmla="*/ 708067 w 1290042"/>
              <a:gd name="connsiteY3" fmla="*/ 7774 h 208130"/>
              <a:gd name="connsiteX4" fmla="*/ 1290042 w 1290042"/>
              <a:gd name="connsiteY4" fmla="*/ 8700 h 208130"/>
              <a:gd name="connsiteX0" fmla="*/ 0 w 1290042"/>
              <a:gd name="connsiteY0" fmla="*/ 0 h 208130"/>
              <a:gd name="connsiteX1" fmla="*/ 482107 w 1290042"/>
              <a:gd name="connsiteY1" fmla="*/ 0 h 208130"/>
              <a:gd name="connsiteX2" fmla="*/ 575953 w 1290042"/>
              <a:gd name="connsiteY2" fmla="*/ 208130 h 208130"/>
              <a:gd name="connsiteX3" fmla="*/ 708067 w 1290042"/>
              <a:gd name="connsiteY3" fmla="*/ 7774 h 208130"/>
              <a:gd name="connsiteX4" fmla="*/ 1290042 w 1290042"/>
              <a:gd name="connsiteY4" fmla="*/ 8700 h 208130"/>
              <a:gd name="connsiteX0" fmla="*/ 0 w 1290042"/>
              <a:gd name="connsiteY0" fmla="*/ 0 h 212943"/>
              <a:gd name="connsiteX1" fmla="*/ 482107 w 1290042"/>
              <a:gd name="connsiteY1" fmla="*/ 0 h 212943"/>
              <a:gd name="connsiteX2" fmla="*/ 479637 w 1290042"/>
              <a:gd name="connsiteY2" fmla="*/ 212943 h 212943"/>
              <a:gd name="connsiteX3" fmla="*/ 708067 w 1290042"/>
              <a:gd name="connsiteY3" fmla="*/ 7774 h 212943"/>
              <a:gd name="connsiteX4" fmla="*/ 1290042 w 1290042"/>
              <a:gd name="connsiteY4" fmla="*/ 8700 h 212943"/>
              <a:gd name="connsiteX0" fmla="*/ 0 w 1290042"/>
              <a:gd name="connsiteY0" fmla="*/ 0 h 212943"/>
              <a:gd name="connsiteX1" fmla="*/ 482107 w 1290042"/>
              <a:gd name="connsiteY1" fmla="*/ 0 h 212943"/>
              <a:gd name="connsiteX2" fmla="*/ 479637 w 1290042"/>
              <a:gd name="connsiteY2" fmla="*/ 212943 h 212943"/>
              <a:gd name="connsiteX3" fmla="*/ 584585 w 1290042"/>
              <a:gd name="connsiteY3" fmla="*/ 7774 h 212943"/>
              <a:gd name="connsiteX4" fmla="*/ 1290042 w 1290042"/>
              <a:gd name="connsiteY4" fmla="*/ 8700 h 212943"/>
              <a:gd name="connsiteX0" fmla="*/ 0 w 1290042"/>
              <a:gd name="connsiteY0" fmla="*/ 0 h 217756"/>
              <a:gd name="connsiteX1" fmla="*/ 482107 w 1290042"/>
              <a:gd name="connsiteY1" fmla="*/ 0 h 217756"/>
              <a:gd name="connsiteX2" fmla="*/ 484577 w 1290042"/>
              <a:gd name="connsiteY2" fmla="*/ 217756 h 217756"/>
              <a:gd name="connsiteX3" fmla="*/ 584585 w 1290042"/>
              <a:gd name="connsiteY3" fmla="*/ 7774 h 217756"/>
              <a:gd name="connsiteX4" fmla="*/ 1290042 w 1290042"/>
              <a:gd name="connsiteY4" fmla="*/ 8700 h 217756"/>
              <a:gd name="connsiteX0" fmla="*/ 0 w 1290042"/>
              <a:gd name="connsiteY0" fmla="*/ 0 h 225572"/>
              <a:gd name="connsiteX1" fmla="*/ 482107 w 1290042"/>
              <a:gd name="connsiteY1" fmla="*/ 0 h 225572"/>
              <a:gd name="connsiteX2" fmla="*/ 480567 w 1290042"/>
              <a:gd name="connsiteY2" fmla="*/ 225572 h 225572"/>
              <a:gd name="connsiteX3" fmla="*/ 584585 w 1290042"/>
              <a:gd name="connsiteY3" fmla="*/ 7774 h 225572"/>
              <a:gd name="connsiteX4" fmla="*/ 1290042 w 1290042"/>
              <a:gd name="connsiteY4" fmla="*/ 8700 h 225572"/>
              <a:gd name="connsiteX0" fmla="*/ 0 w 1290042"/>
              <a:gd name="connsiteY0" fmla="*/ 0 h 225572"/>
              <a:gd name="connsiteX1" fmla="*/ 482107 w 1290042"/>
              <a:gd name="connsiteY1" fmla="*/ 0 h 225572"/>
              <a:gd name="connsiteX2" fmla="*/ 480567 w 1290042"/>
              <a:gd name="connsiteY2" fmla="*/ 225572 h 225572"/>
              <a:gd name="connsiteX3" fmla="*/ 600627 w 1290042"/>
              <a:gd name="connsiteY3" fmla="*/ 7774 h 225572"/>
              <a:gd name="connsiteX4" fmla="*/ 1290042 w 1290042"/>
              <a:gd name="connsiteY4" fmla="*/ 8700 h 225572"/>
              <a:gd name="connsiteX0" fmla="*/ 0 w 1381667"/>
              <a:gd name="connsiteY0" fmla="*/ 0 h 230983"/>
              <a:gd name="connsiteX1" fmla="*/ 573732 w 1381667"/>
              <a:gd name="connsiteY1" fmla="*/ 5411 h 230983"/>
              <a:gd name="connsiteX2" fmla="*/ 572192 w 1381667"/>
              <a:gd name="connsiteY2" fmla="*/ 230983 h 230983"/>
              <a:gd name="connsiteX3" fmla="*/ 692252 w 1381667"/>
              <a:gd name="connsiteY3" fmla="*/ 13185 h 230983"/>
              <a:gd name="connsiteX4" fmla="*/ 1381667 w 1381667"/>
              <a:gd name="connsiteY4" fmla="*/ 14111 h 230983"/>
              <a:gd name="connsiteX0" fmla="*/ 0 w 1881441"/>
              <a:gd name="connsiteY0" fmla="*/ 0 h 230983"/>
              <a:gd name="connsiteX1" fmla="*/ 573732 w 1881441"/>
              <a:gd name="connsiteY1" fmla="*/ 5411 h 230983"/>
              <a:gd name="connsiteX2" fmla="*/ 572192 w 1881441"/>
              <a:gd name="connsiteY2" fmla="*/ 230983 h 230983"/>
              <a:gd name="connsiteX3" fmla="*/ 692252 w 1881441"/>
              <a:gd name="connsiteY3" fmla="*/ 13185 h 230983"/>
              <a:gd name="connsiteX4" fmla="*/ 1881441 w 1881441"/>
              <a:gd name="connsiteY4" fmla="*/ 14111 h 230983"/>
              <a:gd name="connsiteX0" fmla="*/ 0 w 1884217"/>
              <a:gd name="connsiteY0" fmla="*/ 0 h 225573"/>
              <a:gd name="connsiteX1" fmla="*/ 576508 w 1884217"/>
              <a:gd name="connsiteY1" fmla="*/ 1 h 225573"/>
              <a:gd name="connsiteX2" fmla="*/ 574968 w 1884217"/>
              <a:gd name="connsiteY2" fmla="*/ 225573 h 225573"/>
              <a:gd name="connsiteX3" fmla="*/ 695028 w 1884217"/>
              <a:gd name="connsiteY3" fmla="*/ 7775 h 225573"/>
              <a:gd name="connsiteX4" fmla="*/ 1884217 w 1884217"/>
              <a:gd name="connsiteY4" fmla="*/ 8701 h 225573"/>
              <a:gd name="connsiteX0" fmla="*/ 0 w 1900876"/>
              <a:gd name="connsiteY0" fmla="*/ 0 h 225573"/>
              <a:gd name="connsiteX1" fmla="*/ 576508 w 1900876"/>
              <a:gd name="connsiteY1" fmla="*/ 1 h 225573"/>
              <a:gd name="connsiteX2" fmla="*/ 574968 w 1900876"/>
              <a:gd name="connsiteY2" fmla="*/ 225573 h 225573"/>
              <a:gd name="connsiteX3" fmla="*/ 695028 w 1900876"/>
              <a:gd name="connsiteY3" fmla="*/ 7775 h 225573"/>
              <a:gd name="connsiteX4" fmla="*/ 1900876 w 1900876"/>
              <a:gd name="connsiteY4" fmla="*/ 8701 h 225573"/>
              <a:gd name="connsiteX0" fmla="*/ 0 w 1917535"/>
              <a:gd name="connsiteY0" fmla="*/ 0 h 225573"/>
              <a:gd name="connsiteX1" fmla="*/ 593167 w 1917535"/>
              <a:gd name="connsiteY1" fmla="*/ 1 h 225573"/>
              <a:gd name="connsiteX2" fmla="*/ 591627 w 1917535"/>
              <a:gd name="connsiteY2" fmla="*/ 225573 h 225573"/>
              <a:gd name="connsiteX3" fmla="*/ 711687 w 1917535"/>
              <a:gd name="connsiteY3" fmla="*/ 7775 h 225573"/>
              <a:gd name="connsiteX4" fmla="*/ 1917535 w 1917535"/>
              <a:gd name="connsiteY4" fmla="*/ 8701 h 225573"/>
              <a:gd name="connsiteX0" fmla="*/ 0 w 1917535"/>
              <a:gd name="connsiteY0" fmla="*/ 0 h 219310"/>
              <a:gd name="connsiteX1" fmla="*/ 593167 w 1917535"/>
              <a:gd name="connsiteY1" fmla="*/ 1 h 219310"/>
              <a:gd name="connsiteX2" fmla="*/ 594841 w 1917535"/>
              <a:gd name="connsiteY2" fmla="*/ 219310 h 219310"/>
              <a:gd name="connsiteX3" fmla="*/ 711687 w 1917535"/>
              <a:gd name="connsiteY3" fmla="*/ 7775 h 219310"/>
              <a:gd name="connsiteX4" fmla="*/ 1917535 w 1917535"/>
              <a:gd name="connsiteY4" fmla="*/ 8701 h 219310"/>
              <a:gd name="connsiteX0" fmla="*/ 0 w 2071803"/>
              <a:gd name="connsiteY0" fmla="*/ 0 h 219310"/>
              <a:gd name="connsiteX1" fmla="*/ 593167 w 2071803"/>
              <a:gd name="connsiteY1" fmla="*/ 1 h 219310"/>
              <a:gd name="connsiteX2" fmla="*/ 594841 w 2071803"/>
              <a:gd name="connsiteY2" fmla="*/ 219310 h 219310"/>
              <a:gd name="connsiteX3" fmla="*/ 711687 w 2071803"/>
              <a:gd name="connsiteY3" fmla="*/ 7775 h 219310"/>
              <a:gd name="connsiteX4" fmla="*/ 2071803 w 2071803"/>
              <a:gd name="connsiteY4" fmla="*/ 8701 h 219310"/>
              <a:gd name="connsiteX0" fmla="*/ 0 w 2759775"/>
              <a:gd name="connsiteY0" fmla="*/ 0 h 219310"/>
              <a:gd name="connsiteX1" fmla="*/ 593167 w 2759775"/>
              <a:gd name="connsiteY1" fmla="*/ 1 h 219310"/>
              <a:gd name="connsiteX2" fmla="*/ 594841 w 2759775"/>
              <a:gd name="connsiteY2" fmla="*/ 219310 h 219310"/>
              <a:gd name="connsiteX3" fmla="*/ 711687 w 2759775"/>
              <a:gd name="connsiteY3" fmla="*/ 7775 h 219310"/>
              <a:gd name="connsiteX4" fmla="*/ 2759775 w 2759775"/>
              <a:gd name="connsiteY4" fmla="*/ 8701 h 21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59775" h="219310">
                <a:moveTo>
                  <a:pt x="0" y="0"/>
                </a:moveTo>
                <a:lnTo>
                  <a:pt x="593167" y="1"/>
                </a:lnTo>
                <a:cubicBezTo>
                  <a:pt x="592344" y="70982"/>
                  <a:pt x="595664" y="148329"/>
                  <a:pt x="594841" y="219310"/>
                </a:cubicBezTo>
                <a:lnTo>
                  <a:pt x="711687" y="7775"/>
                </a:lnTo>
                <a:lnTo>
                  <a:pt x="2759775" y="8701"/>
                </a:lnTo>
              </a:path>
            </a:pathLst>
          </a:custGeom>
          <a:noFill/>
          <a:ln w="50800">
            <a:solidFill>
              <a:schemeClr val="bg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21" name="Titelplatzhalter 3">
            <a:extLst>
              <a:ext uri="{FF2B5EF4-FFF2-40B4-BE49-F238E27FC236}">
                <a16:creationId xmlns:a16="http://schemas.microsoft.com/office/drawing/2014/main" id="{2F9D78DF-7B02-5741-8EF9-0454118F2D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5120" y="401945"/>
            <a:ext cx="8846773" cy="49244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Unsere Experten für Ihre Fragen</a:t>
            </a:r>
          </a:p>
        </p:txBody>
      </p:sp>
    </p:spTree>
    <p:extLst>
      <p:ext uri="{BB962C8B-B14F-4D97-AF65-F5344CB8AC3E}">
        <p14:creationId xmlns:p14="http://schemas.microsoft.com/office/powerpoint/2010/main" val="89472273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ohne Bild (2 Person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AA3744A-2D48-472F-871D-82FC169387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0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0AA3744A-2D48-472F-871D-82FC169387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2D80C2EA-75E9-4417-BCCF-7ECFF50A6CEC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210E971-0939-CE42-A711-A466490B918B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8" name="Foliennummernplatzhalter 37">
            <a:extLst>
              <a:ext uri="{FF2B5EF4-FFF2-40B4-BE49-F238E27FC236}">
                <a16:creationId xmlns:a16="http://schemas.microsoft.com/office/drawing/2014/main" id="{7EE03712-35B2-664E-BB92-4F701AA346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B4E4A6E9-2D22-6642-8FA5-6457785C5C8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 bwMode="gray">
          <a:xfrm>
            <a:off x="10742401" y="189001"/>
            <a:ext cx="1079481" cy="608159"/>
          </a:xfrm>
          <a:prstGeom prst="rect">
            <a:avLst/>
          </a:prstGeom>
        </p:spPr>
      </p:pic>
      <p:sp>
        <p:nvSpPr>
          <p:cNvPr id="18" name="Untertitel 2">
            <a:extLst>
              <a:ext uri="{FF2B5EF4-FFF2-40B4-BE49-F238E27FC236}">
                <a16:creationId xmlns:a16="http://schemas.microsoft.com/office/drawing/2014/main" id="{95383C76-8D01-864C-A36E-75CDC018233B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04503" y="2754721"/>
            <a:ext cx="5183717" cy="114948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i="0" kern="1200">
                <a:solidFill>
                  <a:srgbClr val="DAE3E7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67" dirty="0">
                <a:solidFill>
                  <a:schemeClr val="accent4"/>
                </a:solidFill>
              </a:rPr>
              <a:t>Steuerberater/In</a:t>
            </a:r>
            <a:br>
              <a:rPr lang="de-DE" sz="1067" dirty="0">
                <a:solidFill>
                  <a:schemeClr val="accent4"/>
                </a:solidFill>
              </a:rPr>
            </a:br>
            <a:endParaRPr lang="de-DE" sz="1067" dirty="0">
              <a:solidFill>
                <a:schemeClr val="accent4"/>
              </a:solidFill>
            </a:endParaRPr>
          </a:p>
          <a:p>
            <a:r>
              <a:rPr lang="de-DE" sz="1067" dirty="0">
                <a:solidFill>
                  <a:schemeClr val="accent4"/>
                </a:solidFill>
              </a:rPr>
              <a:t>AWADO Deutsche Audit GmbH</a:t>
            </a:r>
            <a:br>
              <a:rPr lang="de-DE" sz="1067" dirty="0">
                <a:solidFill>
                  <a:schemeClr val="accent4"/>
                </a:solidFill>
              </a:rPr>
            </a:br>
            <a:r>
              <a:rPr lang="de-DE" sz="1067" dirty="0">
                <a:solidFill>
                  <a:schemeClr val="accent4"/>
                </a:solidFill>
              </a:rPr>
              <a:t>&lt;Jobbezeichnung&gt;</a:t>
            </a:r>
            <a:br>
              <a:rPr lang="de-DE" sz="1067" dirty="0">
                <a:solidFill>
                  <a:schemeClr val="accent4"/>
                </a:solidFill>
              </a:rPr>
            </a:br>
            <a:endParaRPr lang="de-DE" sz="1067" dirty="0">
              <a:solidFill>
                <a:schemeClr val="accent4"/>
              </a:solidFill>
            </a:endParaRPr>
          </a:p>
          <a:p>
            <a:r>
              <a:rPr lang="de-DE" sz="1067" dirty="0">
                <a:solidFill>
                  <a:schemeClr val="accent4"/>
                </a:solidFill>
              </a:rPr>
              <a:t>Telefon:	&lt;Telefonnummer&gt;</a:t>
            </a:r>
          </a:p>
          <a:p>
            <a:r>
              <a:rPr lang="de-DE" sz="1067" dirty="0">
                <a:solidFill>
                  <a:schemeClr val="accent4"/>
                </a:solidFill>
              </a:rPr>
              <a:t>E-Mail:	&lt;Name&gt;@awado-wpg.de</a:t>
            </a:r>
          </a:p>
        </p:txBody>
      </p:sp>
      <p:sp>
        <p:nvSpPr>
          <p:cNvPr id="20" name="Untertitel 2">
            <a:extLst>
              <a:ext uri="{FF2B5EF4-FFF2-40B4-BE49-F238E27FC236}">
                <a16:creationId xmlns:a16="http://schemas.microsoft.com/office/drawing/2014/main" id="{6CFFAD1F-3447-C14A-8277-D6875DC4D66C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88913" y="2370075"/>
            <a:ext cx="5199308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i="0" kern="1200">
                <a:solidFill>
                  <a:srgbClr val="DAE3E7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b="1" i="0" dirty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Vorname Name</a:t>
            </a:r>
          </a:p>
        </p:txBody>
      </p:sp>
      <p:sp>
        <p:nvSpPr>
          <p:cNvPr id="22" name="Freihandform 21">
            <a:extLst>
              <a:ext uri="{FF2B5EF4-FFF2-40B4-BE49-F238E27FC236}">
                <a16:creationId xmlns:a16="http://schemas.microsoft.com/office/drawing/2014/main" id="{B6515391-AB78-D84B-9F6E-39D93FFEDCAC}"/>
              </a:ext>
            </a:extLst>
          </p:cNvPr>
          <p:cNvSpPr/>
          <p:nvPr userDrawn="1"/>
        </p:nvSpPr>
        <p:spPr bwMode="gray">
          <a:xfrm>
            <a:off x="388913" y="1090627"/>
            <a:ext cx="6624007" cy="292413"/>
          </a:xfrm>
          <a:custGeom>
            <a:avLst/>
            <a:gdLst>
              <a:gd name="connsiteX0" fmla="*/ 0 w 1389413"/>
              <a:gd name="connsiteY0" fmla="*/ 0 h 184067"/>
              <a:gd name="connsiteX1" fmla="*/ 575953 w 1389413"/>
              <a:gd name="connsiteY1" fmla="*/ 0 h 184067"/>
              <a:gd name="connsiteX2" fmla="*/ 575953 w 1389413"/>
              <a:gd name="connsiteY2" fmla="*/ 184067 h 184067"/>
              <a:gd name="connsiteX3" fmla="*/ 748145 w 1389413"/>
              <a:gd name="connsiteY3" fmla="*/ 11875 h 184067"/>
              <a:gd name="connsiteX4" fmla="*/ 1389413 w 1389413"/>
              <a:gd name="connsiteY4" fmla="*/ 11875 h 184067"/>
              <a:gd name="connsiteX0" fmla="*/ 0 w 1389413"/>
              <a:gd name="connsiteY0" fmla="*/ 0 h 184067"/>
              <a:gd name="connsiteX1" fmla="*/ 575953 w 1389413"/>
              <a:gd name="connsiteY1" fmla="*/ 0 h 184067"/>
              <a:gd name="connsiteX2" fmla="*/ 575953 w 1389413"/>
              <a:gd name="connsiteY2" fmla="*/ 184067 h 184067"/>
              <a:gd name="connsiteX3" fmla="*/ 666083 w 1389413"/>
              <a:gd name="connsiteY3" fmla="*/ 7774 h 184067"/>
              <a:gd name="connsiteX4" fmla="*/ 1389413 w 1389413"/>
              <a:gd name="connsiteY4" fmla="*/ 11875 h 184067"/>
              <a:gd name="connsiteX0" fmla="*/ 0 w 1288413"/>
              <a:gd name="connsiteY0" fmla="*/ 0 h 184067"/>
              <a:gd name="connsiteX1" fmla="*/ 575953 w 1288413"/>
              <a:gd name="connsiteY1" fmla="*/ 0 h 184067"/>
              <a:gd name="connsiteX2" fmla="*/ 575953 w 1288413"/>
              <a:gd name="connsiteY2" fmla="*/ 184067 h 184067"/>
              <a:gd name="connsiteX3" fmla="*/ 666083 w 1288413"/>
              <a:gd name="connsiteY3" fmla="*/ 7774 h 184067"/>
              <a:gd name="connsiteX4" fmla="*/ 1288413 w 1288413"/>
              <a:gd name="connsiteY4" fmla="*/ 11875 h 184067"/>
              <a:gd name="connsiteX0" fmla="*/ 0 w 1290042"/>
              <a:gd name="connsiteY0" fmla="*/ 0 h 184067"/>
              <a:gd name="connsiteX1" fmla="*/ 575953 w 1290042"/>
              <a:gd name="connsiteY1" fmla="*/ 0 h 184067"/>
              <a:gd name="connsiteX2" fmla="*/ 575953 w 1290042"/>
              <a:gd name="connsiteY2" fmla="*/ 184067 h 184067"/>
              <a:gd name="connsiteX3" fmla="*/ 666083 w 1290042"/>
              <a:gd name="connsiteY3" fmla="*/ 7774 h 184067"/>
              <a:gd name="connsiteX4" fmla="*/ 1290042 w 1290042"/>
              <a:gd name="connsiteY4" fmla="*/ 8700 h 184067"/>
              <a:gd name="connsiteX0" fmla="*/ 0 w 1290042"/>
              <a:gd name="connsiteY0" fmla="*/ 0 h 184067"/>
              <a:gd name="connsiteX1" fmla="*/ 575953 w 1290042"/>
              <a:gd name="connsiteY1" fmla="*/ 0 h 184067"/>
              <a:gd name="connsiteX2" fmla="*/ 575953 w 1290042"/>
              <a:gd name="connsiteY2" fmla="*/ 184067 h 184067"/>
              <a:gd name="connsiteX3" fmla="*/ 708067 w 1290042"/>
              <a:gd name="connsiteY3" fmla="*/ 7774 h 184067"/>
              <a:gd name="connsiteX4" fmla="*/ 1290042 w 1290042"/>
              <a:gd name="connsiteY4" fmla="*/ 8700 h 184067"/>
              <a:gd name="connsiteX0" fmla="*/ 0 w 1290042"/>
              <a:gd name="connsiteY0" fmla="*/ 0 h 208130"/>
              <a:gd name="connsiteX1" fmla="*/ 575953 w 1290042"/>
              <a:gd name="connsiteY1" fmla="*/ 0 h 208130"/>
              <a:gd name="connsiteX2" fmla="*/ 575953 w 1290042"/>
              <a:gd name="connsiteY2" fmla="*/ 208130 h 208130"/>
              <a:gd name="connsiteX3" fmla="*/ 708067 w 1290042"/>
              <a:gd name="connsiteY3" fmla="*/ 7774 h 208130"/>
              <a:gd name="connsiteX4" fmla="*/ 1290042 w 1290042"/>
              <a:gd name="connsiteY4" fmla="*/ 8700 h 208130"/>
              <a:gd name="connsiteX0" fmla="*/ 0 w 1290042"/>
              <a:gd name="connsiteY0" fmla="*/ 0 h 208130"/>
              <a:gd name="connsiteX1" fmla="*/ 482107 w 1290042"/>
              <a:gd name="connsiteY1" fmla="*/ 0 h 208130"/>
              <a:gd name="connsiteX2" fmla="*/ 575953 w 1290042"/>
              <a:gd name="connsiteY2" fmla="*/ 208130 h 208130"/>
              <a:gd name="connsiteX3" fmla="*/ 708067 w 1290042"/>
              <a:gd name="connsiteY3" fmla="*/ 7774 h 208130"/>
              <a:gd name="connsiteX4" fmla="*/ 1290042 w 1290042"/>
              <a:gd name="connsiteY4" fmla="*/ 8700 h 208130"/>
              <a:gd name="connsiteX0" fmla="*/ 0 w 1290042"/>
              <a:gd name="connsiteY0" fmla="*/ 0 h 212943"/>
              <a:gd name="connsiteX1" fmla="*/ 482107 w 1290042"/>
              <a:gd name="connsiteY1" fmla="*/ 0 h 212943"/>
              <a:gd name="connsiteX2" fmla="*/ 479637 w 1290042"/>
              <a:gd name="connsiteY2" fmla="*/ 212943 h 212943"/>
              <a:gd name="connsiteX3" fmla="*/ 708067 w 1290042"/>
              <a:gd name="connsiteY3" fmla="*/ 7774 h 212943"/>
              <a:gd name="connsiteX4" fmla="*/ 1290042 w 1290042"/>
              <a:gd name="connsiteY4" fmla="*/ 8700 h 212943"/>
              <a:gd name="connsiteX0" fmla="*/ 0 w 1290042"/>
              <a:gd name="connsiteY0" fmla="*/ 0 h 212943"/>
              <a:gd name="connsiteX1" fmla="*/ 482107 w 1290042"/>
              <a:gd name="connsiteY1" fmla="*/ 0 h 212943"/>
              <a:gd name="connsiteX2" fmla="*/ 479637 w 1290042"/>
              <a:gd name="connsiteY2" fmla="*/ 212943 h 212943"/>
              <a:gd name="connsiteX3" fmla="*/ 584585 w 1290042"/>
              <a:gd name="connsiteY3" fmla="*/ 7774 h 212943"/>
              <a:gd name="connsiteX4" fmla="*/ 1290042 w 1290042"/>
              <a:gd name="connsiteY4" fmla="*/ 8700 h 212943"/>
              <a:gd name="connsiteX0" fmla="*/ 0 w 1290042"/>
              <a:gd name="connsiteY0" fmla="*/ 0 h 217756"/>
              <a:gd name="connsiteX1" fmla="*/ 482107 w 1290042"/>
              <a:gd name="connsiteY1" fmla="*/ 0 h 217756"/>
              <a:gd name="connsiteX2" fmla="*/ 484577 w 1290042"/>
              <a:gd name="connsiteY2" fmla="*/ 217756 h 217756"/>
              <a:gd name="connsiteX3" fmla="*/ 584585 w 1290042"/>
              <a:gd name="connsiteY3" fmla="*/ 7774 h 217756"/>
              <a:gd name="connsiteX4" fmla="*/ 1290042 w 1290042"/>
              <a:gd name="connsiteY4" fmla="*/ 8700 h 217756"/>
              <a:gd name="connsiteX0" fmla="*/ 0 w 1290042"/>
              <a:gd name="connsiteY0" fmla="*/ 0 h 225572"/>
              <a:gd name="connsiteX1" fmla="*/ 482107 w 1290042"/>
              <a:gd name="connsiteY1" fmla="*/ 0 h 225572"/>
              <a:gd name="connsiteX2" fmla="*/ 480567 w 1290042"/>
              <a:gd name="connsiteY2" fmla="*/ 225572 h 225572"/>
              <a:gd name="connsiteX3" fmla="*/ 584585 w 1290042"/>
              <a:gd name="connsiteY3" fmla="*/ 7774 h 225572"/>
              <a:gd name="connsiteX4" fmla="*/ 1290042 w 1290042"/>
              <a:gd name="connsiteY4" fmla="*/ 8700 h 225572"/>
              <a:gd name="connsiteX0" fmla="*/ 0 w 1290042"/>
              <a:gd name="connsiteY0" fmla="*/ 0 h 225572"/>
              <a:gd name="connsiteX1" fmla="*/ 482107 w 1290042"/>
              <a:gd name="connsiteY1" fmla="*/ 0 h 225572"/>
              <a:gd name="connsiteX2" fmla="*/ 480567 w 1290042"/>
              <a:gd name="connsiteY2" fmla="*/ 225572 h 225572"/>
              <a:gd name="connsiteX3" fmla="*/ 600627 w 1290042"/>
              <a:gd name="connsiteY3" fmla="*/ 7774 h 225572"/>
              <a:gd name="connsiteX4" fmla="*/ 1290042 w 1290042"/>
              <a:gd name="connsiteY4" fmla="*/ 8700 h 225572"/>
              <a:gd name="connsiteX0" fmla="*/ 0 w 1381667"/>
              <a:gd name="connsiteY0" fmla="*/ 0 h 230983"/>
              <a:gd name="connsiteX1" fmla="*/ 573732 w 1381667"/>
              <a:gd name="connsiteY1" fmla="*/ 5411 h 230983"/>
              <a:gd name="connsiteX2" fmla="*/ 572192 w 1381667"/>
              <a:gd name="connsiteY2" fmla="*/ 230983 h 230983"/>
              <a:gd name="connsiteX3" fmla="*/ 692252 w 1381667"/>
              <a:gd name="connsiteY3" fmla="*/ 13185 h 230983"/>
              <a:gd name="connsiteX4" fmla="*/ 1381667 w 1381667"/>
              <a:gd name="connsiteY4" fmla="*/ 14111 h 230983"/>
              <a:gd name="connsiteX0" fmla="*/ 0 w 1881441"/>
              <a:gd name="connsiteY0" fmla="*/ 0 h 230983"/>
              <a:gd name="connsiteX1" fmla="*/ 573732 w 1881441"/>
              <a:gd name="connsiteY1" fmla="*/ 5411 h 230983"/>
              <a:gd name="connsiteX2" fmla="*/ 572192 w 1881441"/>
              <a:gd name="connsiteY2" fmla="*/ 230983 h 230983"/>
              <a:gd name="connsiteX3" fmla="*/ 692252 w 1881441"/>
              <a:gd name="connsiteY3" fmla="*/ 13185 h 230983"/>
              <a:gd name="connsiteX4" fmla="*/ 1881441 w 1881441"/>
              <a:gd name="connsiteY4" fmla="*/ 14111 h 230983"/>
              <a:gd name="connsiteX0" fmla="*/ 0 w 1884217"/>
              <a:gd name="connsiteY0" fmla="*/ 0 h 225573"/>
              <a:gd name="connsiteX1" fmla="*/ 576508 w 1884217"/>
              <a:gd name="connsiteY1" fmla="*/ 1 h 225573"/>
              <a:gd name="connsiteX2" fmla="*/ 574968 w 1884217"/>
              <a:gd name="connsiteY2" fmla="*/ 225573 h 225573"/>
              <a:gd name="connsiteX3" fmla="*/ 695028 w 1884217"/>
              <a:gd name="connsiteY3" fmla="*/ 7775 h 225573"/>
              <a:gd name="connsiteX4" fmla="*/ 1884217 w 1884217"/>
              <a:gd name="connsiteY4" fmla="*/ 8701 h 225573"/>
              <a:gd name="connsiteX0" fmla="*/ 0 w 1900876"/>
              <a:gd name="connsiteY0" fmla="*/ 0 h 225573"/>
              <a:gd name="connsiteX1" fmla="*/ 576508 w 1900876"/>
              <a:gd name="connsiteY1" fmla="*/ 1 h 225573"/>
              <a:gd name="connsiteX2" fmla="*/ 574968 w 1900876"/>
              <a:gd name="connsiteY2" fmla="*/ 225573 h 225573"/>
              <a:gd name="connsiteX3" fmla="*/ 695028 w 1900876"/>
              <a:gd name="connsiteY3" fmla="*/ 7775 h 225573"/>
              <a:gd name="connsiteX4" fmla="*/ 1900876 w 1900876"/>
              <a:gd name="connsiteY4" fmla="*/ 8701 h 225573"/>
              <a:gd name="connsiteX0" fmla="*/ 0 w 1917535"/>
              <a:gd name="connsiteY0" fmla="*/ 0 h 225573"/>
              <a:gd name="connsiteX1" fmla="*/ 593167 w 1917535"/>
              <a:gd name="connsiteY1" fmla="*/ 1 h 225573"/>
              <a:gd name="connsiteX2" fmla="*/ 591627 w 1917535"/>
              <a:gd name="connsiteY2" fmla="*/ 225573 h 225573"/>
              <a:gd name="connsiteX3" fmla="*/ 711687 w 1917535"/>
              <a:gd name="connsiteY3" fmla="*/ 7775 h 225573"/>
              <a:gd name="connsiteX4" fmla="*/ 1917535 w 1917535"/>
              <a:gd name="connsiteY4" fmla="*/ 8701 h 225573"/>
              <a:gd name="connsiteX0" fmla="*/ 0 w 1917535"/>
              <a:gd name="connsiteY0" fmla="*/ 0 h 219310"/>
              <a:gd name="connsiteX1" fmla="*/ 593167 w 1917535"/>
              <a:gd name="connsiteY1" fmla="*/ 1 h 219310"/>
              <a:gd name="connsiteX2" fmla="*/ 594841 w 1917535"/>
              <a:gd name="connsiteY2" fmla="*/ 219310 h 219310"/>
              <a:gd name="connsiteX3" fmla="*/ 711687 w 1917535"/>
              <a:gd name="connsiteY3" fmla="*/ 7775 h 219310"/>
              <a:gd name="connsiteX4" fmla="*/ 1917535 w 1917535"/>
              <a:gd name="connsiteY4" fmla="*/ 8701 h 219310"/>
              <a:gd name="connsiteX0" fmla="*/ 0 w 2071803"/>
              <a:gd name="connsiteY0" fmla="*/ 0 h 219310"/>
              <a:gd name="connsiteX1" fmla="*/ 593167 w 2071803"/>
              <a:gd name="connsiteY1" fmla="*/ 1 h 219310"/>
              <a:gd name="connsiteX2" fmla="*/ 594841 w 2071803"/>
              <a:gd name="connsiteY2" fmla="*/ 219310 h 219310"/>
              <a:gd name="connsiteX3" fmla="*/ 711687 w 2071803"/>
              <a:gd name="connsiteY3" fmla="*/ 7775 h 219310"/>
              <a:gd name="connsiteX4" fmla="*/ 2071803 w 2071803"/>
              <a:gd name="connsiteY4" fmla="*/ 8701 h 219310"/>
              <a:gd name="connsiteX0" fmla="*/ 0 w 1914321"/>
              <a:gd name="connsiteY0" fmla="*/ 0 h 219310"/>
              <a:gd name="connsiteX1" fmla="*/ 593167 w 1914321"/>
              <a:gd name="connsiteY1" fmla="*/ 1 h 219310"/>
              <a:gd name="connsiteX2" fmla="*/ 594841 w 1914321"/>
              <a:gd name="connsiteY2" fmla="*/ 219310 h 219310"/>
              <a:gd name="connsiteX3" fmla="*/ 711687 w 1914321"/>
              <a:gd name="connsiteY3" fmla="*/ 7775 h 219310"/>
              <a:gd name="connsiteX4" fmla="*/ 1914321 w 1914321"/>
              <a:gd name="connsiteY4" fmla="*/ 8701 h 219310"/>
              <a:gd name="connsiteX0" fmla="*/ 0 w 2549372"/>
              <a:gd name="connsiteY0" fmla="*/ 0 h 219310"/>
              <a:gd name="connsiteX1" fmla="*/ 593167 w 2549372"/>
              <a:gd name="connsiteY1" fmla="*/ 1 h 219310"/>
              <a:gd name="connsiteX2" fmla="*/ 594841 w 2549372"/>
              <a:gd name="connsiteY2" fmla="*/ 219310 h 219310"/>
              <a:gd name="connsiteX3" fmla="*/ 711687 w 2549372"/>
              <a:gd name="connsiteY3" fmla="*/ 7775 h 219310"/>
              <a:gd name="connsiteX4" fmla="*/ 2549372 w 2549372"/>
              <a:gd name="connsiteY4" fmla="*/ 8701 h 21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49372" h="219310">
                <a:moveTo>
                  <a:pt x="0" y="0"/>
                </a:moveTo>
                <a:lnTo>
                  <a:pt x="593167" y="1"/>
                </a:lnTo>
                <a:cubicBezTo>
                  <a:pt x="592344" y="70982"/>
                  <a:pt x="595664" y="148329"/>
                  <a:pt x="594841" y="219310"/>
                </a:cubicBezTo>
                <a:lnTo>
                  <a:pt x="711687" y="7775"/>
                </a:lnTo>
                <a:lnTo>
                  <a:pt x="2549372" y="8701"/>
                </a:lnTo>
              </a:path>
            </a:pathLst>
          </a:custGeom>
          <a:noFill/>
          <a:ln w="50800">
            <a:solidFill>
              <a:schemeClr val="bg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23" name="Titelplatzhalter 3">
            <a:extLst>
              <a:ext uri="{FF2B5EF4-FFF2-40B4-BE49-F238E27FC236}">
                <a16:creationId xmlns:a16="http://schemas.microsoft.com/office/drawing/2014/main" id="{B3CA9FA5-3BFE-0C44-AB15-68A6677C33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5120" y="401945"/>
            <a:ext cx="8846773" cy="49244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Unser Experte für Ihre Fragen</a:t>
            </a:r>
          </a:p>
        </p:txBody>
      </p:sp>
    </p:spTree>
    <p:extLst>
      <p:ext uri="{BB962C8B-B14F-4D97-AF65-F5344CB8AC3E}">
        <p14:creationId xmlns:p14="http://schemas.microsoft.com/office/powerpoint/2010/main" val="31384597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ontakt ohne Bild (2 Person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5FEC960-4111-4922-A117-BF80053E7B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33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5FEC960-4111-4922-A117-BF80053E7B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91297EDE-0B82-4DDF-9C3E-2723FDFD5C3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210E971-0939-CE42-A711-A466490B918B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8" name="Foliennummernplatzhalter 37">
            <a:extLst>
              <a:ext uri="{FF2B5EF4-FFF2-40B4-BE49-F238E27FC236}">
                <a16:creationId xmlns:a16="http://schemas.microsoft.com/office/drawing/2014/main" id="{7EE03712-35B2-664E-BB92-4F701AA346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B4E4A6E9-2D22-6642-8FA5-6457785C5C8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 bwMode="gray">
          <a:xfrm>
            <a:off x="10742401" y="189001"/>
            <a:ext cx="1079481" cy="608159"/>
          </a:xfrm>
          <a:prstGeom prst="rect">
            <a:avLst/>
          </a:prstGeom>
        </p:spPr>
      </p:pic>
      <p:sp>
        <p:nvSpPr>
          <p:cNvPr id="19" name="Freihandform 18">
            <a:extLst>
              <a:ext uri="{FF2B5EF4-FFF2-40B4-BE49-F238E27FC236}">
                <a16:creationId xmlns:a16="http://schemas.microsoft.com/office/drawing/2014/main" id="{EBE3F0AB-4181-834C-B005-59A485430F03}"/>
              </a:ext>
            </a:extLst>
          </p:cNvPr>
          <p:cNvSpPr/>
          <p:nvPr userDrawn="1"/>
        </p:nvSpPr>
        <p:spPr bwMode="gray">
          <a:xfrm>
            <a:off x="388913" y="1088750"/>
            <a:ext cx="7170695" cy="292413"/>
          </a:xfrm>
          <a:custGeom>
            <a:avLst/>
            <a:gdLst>
              <a:gd name="connsiteX0" fmla="*/ 0 w 1389413"/>
              <a:gd name="connsiteY0" fmla="*/ 0 h 184067"/>
              <a:gd name="connsiteX1" fmla="*/ 575953 w 1389413"/>
              <a:gd name="connsiteY1" fmla="*/ 0 h 184067"/>
              <a:gd name="connsiteX2" fmla="*/ 575953 w 1389413"/>
              <a:gd name="connsiteY2" fmla="*/ 184067 h 184067"/>
              <a:gd name="connsiteX3" fmla="*/ 748145 w 1389413"/>
              <a:gd name="connsiteY3" fmla="*/ 11875 h 184067"/>
              <a:gd name="connsiteX4" fmla="*/ 1389413 w 1389413"/>
              <a:gd name="connsiteY4" fmla="*/ 11875 h 184067"/>
              <a:gd name="connsiteX0" fmla="*/ 0 w 1389413"/>
              <a:gd name="connsiteY0" fmla="*/ 0 h 184067"/>
              <a:gd name="connsiteX1" fmla="*/ 575953 w 1389413"/>
              <a:gd name="connsiteY1" fmla="*/ 0 h 184067"/>
              <a:gd name="connsiteX2" fmla="*/ 575953 w 1389413"/>
              <a:gd name="connsiteY2" fmla="*/ 184067 h 184067"/>
              <a:gd name="connsiteX3" fmla="*/ 666083 w 1389413"/>
              <a:gd name="connsiteY3" fmla="*/ 7774 h 184067"/>
              <a:gd name="connsiteX4" fmla="*/ 1389413 w 1389413"/>
              <a:gd name="connsiteY4" fmla="*/ 11875 h 184067"/>
              <a:gd name="connsiteX0" fmla="*/ 0 w 1288413"/>
              <a:gd name="connsiteY0" fmla="*/ 0 h 184067"/>
              <a:gd name="connsiteX1" fmla="*/ 575953 w 1288413"/>
              <a:gd name="connsiteY1" fmla="*/ 0 h 184067"/>
              <a:gd name="connsiteX2" fmla="*/ 575953 w 1288413"/>
              <a:gd name="connsiteY2" fmla="*/ 184067 h 184067"/>
              <a:gd name="connsiteX3" fmla="*/ 666083 w 1288413"/>
              <a:gd name="connsiteY3" fmla="*/ 7774 h 184067"/>
              <a:gd name="connsiteX4" fmla="*/ 1288413 w 1288413"/>
              <a:gd name="connsiteY4" fmla="*/ 11875 h 184067"/>
              <a:gd name="connsiteX0" fmla="*/ 0 w 1290042"/>
              <a:gd name="connsiteY0" fmla="*/ 0 h 184067"/>
              <a:gd name="connsiteX1" fmla="*/ 575953 w 1290042"/>
              <a:gd name="connsiteY1" fmla="*/ 0 h 184067"/>
              <a:gd name="connsiteX2" fmla="*/ 575953 w 1290042"/>
              <a:gd name="connsiteY2" fmla="*/ 184067 h 184067"/>
              <a:gd name="connsiteX3" fmla="*/ 666083 w 1290042"/>
              <a:gd name="connsiteY3" fmla="*/ 7774 h 184067"/>
              <a:gd name="connsiteX4" fmla="*/ 1290042 w 1290042"/>
              <a:gd name="connsiteY4" fmla="*/ 8700 h 184067"/>
              <a:gd name="connsiteX0" fmla="*/ 0 w 1290042"/>
              <a:gd name="connsiteY0" fmla="*/ 0 h 184067"/>
              <a:gd name="connsiteX1" fmla="*/ 575953 w 1290042"/>
              <a:gd name="connsiteY1" fmla="*/ 0 h 184067"/>
              <a:gd name="connsiteX2" fmla="*/ 575953 w 1290042"/>
              <a:gd name="connsiteY2" fmla="*/ 184067 h 184067"/>
              <a:gd name="connsiteX3" fmla="*/ 708067 w 1290042"/>
              <a:gd name="connsiteY3" fmla="*/ 7774 h 184067"/>
              <a:gd name="connsiteX4" fmla="*/ 1290042 w 1290042"/>
              <a:gd name="connsiteY4" fmla="*/ 8700 h 184067"/>
              <a:gd name="connsiteX0" fmla="*/ 0 w 1290042"/>
              <a:gd name="connsiteY0" fmla="*/ 0 h 208130"/>
              <a:gd name="connsiteX1" fmla="*/ 575953 w 1290042"/>
              <a:gd name="connsiteY1" fmla="*/ 0 h 208130"/>
              <a:gd name="connsiteX2" fmla="*/ 575953 w 1290042"/>
              <a:gd name="connsiteY2" fmla="*/ 208130 h 208130"/>
              <a:gd name="connsiteX3" fmla="*/ 708067 w 1290042"/>
              <a:gd name="connsiteY3" fmla="*/ 7774 h 208130"/>
              <a:gd name="connsiteX4" fmla="*/ 1290042 w 1290042"/>
              <a:gd name="connsiteY4" fmla="*/ 8700 h 208130"/>
              <a:gd name="connsiteX0" fmla="*/ 0 w 1290042"/>
              <a:gd name="connsiteY0" fmla="*/ 0 h 208130"/>
              <a:gd name="connsiteX1" fmla="*/ 482107 w 1290042"/>
              <a:gd name="connsiteY1" fmla="*/ 0 h 208130"/>
              <a:gd name="connsiteX2" fmla="*/ 575953 w 1290042"/>
              <a:gd name="connsiteY2" fmla="*/ 208130 h 208130"/>
              <a:gd name="connsiteX3" fmla="*/ 708067 w 1290042"/>
              <a:gd name="connsiteY3" fmla="*/ 7774 h 208130"/>
              <a:gd name="connsiteX4" fmla="*/ 1290042 w 1290042"/>
              <a:gd name="connsiteY4" fmla="*/ 8700 h 208130"/>
              <a:gd name="connsiteX0" fmla="*/ 0 w 1290042"/>
              <a:gd name="connsiteY0" fmla="*/ 0 h 212943"/>
              <a:gd name="connsiteX1" fmla="*/ 482107 w 1290042"/>
              <a:gd name="connsiteY1" fmla="*/ 0 h 212943"/>
              <a:gd name="connsiteX2" fmla="*/ 479637 w 1290042"/>
              <a:gd name="connsiteY2" fmla="*/ 212943 h 212943"/>
              <a:gd name="connsiteX3" fmla="*/ 708067 w 1290042"/>
              <a:gd name="connsiteY3" fmla="*/ 7774 h 212943"/>
              <a:gd name="connsiteX4" fmla="*/ 1290042 w 1290042"/>
              <a:gd name="connsiteY4" fmla="*/ 8700 h 212943"/>
              <a:gd name="connsiteX0" fmla="*/ 0 w 1290042"/>
              <a:gd name="connsiteY0" fmla="*/ 0 h 212943"/>
              <a:gd name="connsiteX1" fmla="*/ 482107 w 1290042"/>
              <a:gd name="connsiteY1" fmla="*/ 0 h 212943"/>
              <a:gd name="connsiteX2" fmla="*/ 479637 w 1290042"/>
              <a:gd name="connsiteY2" fmla="*/ 212943 h 212943"/>
              <a:gd name="connsiteX3" fmla="*/ 584585 w 1290042"/>
              <a:gd name="connsiteY3" fmla="*/ 7774 h 212943"/>
              <a:gd name="connsiteX4" fmla="*/ 1290042 w 1290042"/>
              <a:gd name="connsiteY4" fmla="*/ 8700 h 212943"/>
              <a:gd name="connsiteX0" fmla="*/ 0 w 1290042"/>
              <a:gd name="connsiteY0" fmla="*/ 0 h 217756"/>
              <a:gd name="connsiteX1" fmla="*/ 482107 w 1290042"/>
              <a:gd name="connsiteY1" fmla="*/ 0 h 217756"/>
              <a:gd name="connsiteX2" fmla="*/ 484577 w 1290042"/>
              <a:gd name="connsiteY2" fmla="*/ 217756 h 217756"/>
              <a:gd name="connsiteX3" fmla="*/ 584585 w 1290042"/>
              <a:gd name="connsiteY3" fmla="*/ 7774 h 217756"/>
              <a:gd name="connsiteX4" fmla="*/ 1290042 w 1290042"/>
              <a:gd name="connsiteY4" fmla="*/ 8700 h 217756"/>
              <a:gd name="connsiteX0" fmla="*/ 0 w 1290042"/>
              <a:gd name="connsiteY0" fmla="*/ 0 h 225572"/>
              <a:gd name="connsiteX1" fmla="*/ 482107 w 1290042"/>
              <a:gd name="connsiteY1" fmla="*/ 0 h 225572"/>
              <a:gd name="connsiteX2" fmla="*/ 480567 w 1290042"/>
              <a:gd name="connsiteY2" fmla="*/ 225572 h 225572"/>
              <a:gd name="connsiteX3" fmla="*/ 584585 w 1290042"/>
              <a:gd name="connsiteY3" fmla="*/ 7774 h 225572"/>
              <a:gd name="connsiteX4" fmla="*/ 1290042 w 1290042"/>
              <a:gd name="connsiteY4" fmla="*/ 8700 h 225572"/>
              <a:gd name="connsiteX0" fmla="*/ 0 w 1290042"/>
              <a:gd name="connsiteY0" fmla="*/ 0 h 225572"/>
              <a:gd name="connsiteX1" fmla="*/ 482107 w 1290042"/>
              <a:gd name="connsiteY1" fmla="*/ 0 h 225572"/>
              <a:gd name="connsiteX2" fmla="*/ 480567 w 1290042"/>
              <a:gd name="connsiteY2" fmla="*/ 225572 h 225572"/>
              <a:gd name="connsiteX3" fmla="*/ 600627 w 1290042"/>
              <a:gd name="connsiteY3" fmla="*/ 7774 h 225572"/>
              <a:gd name="connsiteX4" fmla="*/ 1290042 w 1290042"/>
              <a:gd name="connsiteY4" fmla="*/ 8700 h 225572"/>
              <a:gd name="connsiteX0" fmla="*/ 0 w 1381667"/>
              <a:gd name="connsiteY0" fmla="*/ 0 h 230983"/>
              <a:gd name="connsiteX1" fmla="*/ 573732 w 1381667"/>
              <a:gd name="connsiteY1" fmla="*/ 5411 h 230983"/>
              <a:gd name="connsiteX2" fmla="*/ 572192 w 1381667"/>
              <a:gd name="connsiteY2" fmla="*/ 230983 h 230983"/>
              <a:gd name="connsiteX3" fmla="*/ 692252 w 1381667"/>
              <a:gd name="connsiteY3" fmla="*/ 13185 h 230983"/>
              <a:gd name="connsiteX4" fmla="*/ 1381667 w 1381667"/>
              <a:gd name="connsiteY4" fmla="*/ 14111 h 230983"/>
              <a:gd name="connsiteX0" fmla="*/ 0 w 1881441"/>
              <a:gd name="connsiteY0" fmla="*/ 0 h 230983"/>
              <a:gd name="connsiteX1" fmla="*/ 573732 w 1881441"/>
              <a:gd name="connsiteY1" fmla="*/ 5411 h 230983"/>
              <a:gd name="connsiteX2" fmla="*/ 572192 w 1881441"/>
              <a:gd name="connsiteY2" fmla="*/ 230983 h 230983"/>
              <a:gd name="connsiteX3" fmla="*/ 692252 w 1881441"/>
              <a:gd name="connsiteY3" fmla="*/ 13185 h 230983"/>
              <a:gd name="connsiteX4" fmla="*/ 1881441 w 1881441"/>
              <a:gd name="connsiteY4" fmla="*/ 14111 h 230983"/>
              <a:gd name="connsiteX0" fmla="*/ 0 w 1884217"/>
              <a:gd name="connsiteY0" fmla="*/ 0 h 225573"/>
              <a:gd name="connsiteX1" fmla="*/ 576508 w 1884217"/>
              <a:gd name="connsiteY1" fmla="*/ 1 h 225573"/>
              <a:gd name="connsiteX2" fmla="*/ 574968 w 1884217"/>
              <a:gd name="connsiteY2" fmla="*/ 225573 h 225573"/>
              <a:gd name="connsiteX3" fmla="*/ 695028 w 1884217"/>
              <a:gd name="connsiteY3" fmla="*/ 7775 h 225573"/>
              <a:gd name="connsiteX4" fmla="*/ 1884217 w 1884217"/>
              <a:gd name="connsiteY4" fmla="*/ 8701 h 225573"/>
              <a:gd name="connsiteX0" fmla="*/ 0 w 1900876"/>
              <a:gd name="connsiteY0" fmla="*/ 0 h 225573"/>
              <a:gd name="connsiteX1" fmla="*/ 576508 w 1900876"/>
              <a:gd name="connsiteY1" fmla="*/ 1 h 225573"/>
              <a:gd name="connsiteX2" fmla="*/ 574968 w 1900876"/>
              <a:gd name="connsiteY2" fmla="*/ 225573 h 225573"/>
              <a:gd name="connsiteX3" fmla="*/ 695028 w 1900876"/>
              <a:gd name="connsiteY3" fmla="*/ 7775 h 225573"/>
              <a:gd name="connsiteX4" fmla="*/ 1900876 w 1900876"/>
              <a:gd name="connsiteY4" fmla="*/ 8701 h 225573"/>
              <a:gd name="connsiteX0" fmla="*/ 0 w 1917535"/>
              <a:gd name="connsiteY0" fmla="*/ 0 h 225573"/>
              <a:gd name="connsiteX1" fmla="*/ 593167 w 1917535"/>
              <a:gd name="connsiteY1" fmla="*/ 1 h 225573"/>
              <a:gd name="connsiteX2" fmla="*/ 591627 w 1917535"/>
              <a:gd name="connsiteY2" fmla="*/ 225573 h 225573"/>
              <a:gd name="connsiteX3" fmla="*/ 711687 w 1917535"/>
              <a:gd name="connsiteY3" fmla="*/ 7775 h 225573"/>
              <a:gd name="connsiteX4" fmla="*/ 1917535 w 1917535"/>
              <a:gd name="connsiteY4" fmla="*/ 8701 h 225573"/>
              <a:gd name="connsiteX0" fmla="*/ 0 w 1917535"/>
              <a:gd name="connsiteY0" fmla="*/ 0 h 219310"/>
              <a:gd name="connsiteX1" fmla="*/ 593167 w 1917535"/>
              <a:gd name="connsiteY1" fmla="*/ 1 h 219310"/>
              <a:gd name="connsiteX2" fmla="*/ 594841 w 1917535"/>
              <a:gd name="connsiteY2" fmla="*/ 219310 h 219310"/>
              <a:gd name="connsiteX3" fmla="*/ 711687 w 1917535"/>
              <a:gd name="connsiteY3" fmla="*/ 7775 h 219310"/>
              <a:gd name="connsiteX4" fmla="*/ 1917535 w 1917535"/>
              <a:gd name="connsiteY4" fmla="*/ 8701 h 219310"/>
              <a:gd name="connsiteX0" fmla="*/ 0 w 2071803"/>
              <a:gd name="connsiteY0" fmla="*/ 0 h 219310"/>
              <a:gd name="connsiteX1" fmla="*/ 593167 w 2071803"/>
              <a:gd name="connsiteY1" fmla="*/ 1 h 219310"/>
              <a:gd name="connsiteX2" fmla="*/ 594841 w 2071803"/>
              <a:gd name="connsiteY2" fmla="*/ 219310 h 219310"/>
              <a:gd name="connsiteX3" fmla="*/ 711687 w 2071803"/>
              <a:gd name="connsiteY3" fmla="*/ 7775 h 219310"/>
              <a:gd name="connsiteX4" fmla="*/ 2071803 w 2071803"/>
              <a:gd name="connsiteY4" fmla="*/ 8701 h 219310"/>
              <a:gd name="connsiteX0" fmla="*/ 0 w 2759775"/>
              <a:gd name="connsiteY0" fmla="*/ 0 h 219310"/>
              <a:gd name="connsiteX1" fmla="*/ 593167 w 2759775"/>
              <a:gd name="connsiteY1" fmla="*/ 1 h 219310"/>
              <a:gd name="connsiteX2" fmla="*/ 594841 w 2759775"/>
              <a:gd name="connsiteY2" fmla="*/ 219310 h 219310"/>
              <a:gd name="connsiteX3" fmla="*/ 711687 w 2759775"/>
              <a:gd name="connsiteY3" fmla="*/ 7775 h 219310"/>
              <a:gd name="connsiteX4" fmla="*/ 2759775 w 2759775"/>
              <a:gd name="connsiteY4" fmla="*/ 8701 h 21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59775" h="219310">
                <a:moveTo>
                  <a:pt x="0" y="0"/>
                </a:moveTo>
                <a:lnTo>
                  <a:pt x="593167" y="1"/>
                </a:lnTo>
                <a:cubicBezTo>
                  <a:pt x="592344" y="70982"/>
                  <a:pt x="595664" y="148329"/>
                  <a:pt x="594841" y="219310"/>
                </a:cubicBezTo>
                <a:lnTo>
                  <a:pt x="711687" y="7775"/>
                </a:lnTo>
                <a:lnTo>
                  <a:pt x="2759775" y="8701"/>
                </a:lnTo>
              </a:path>
            </a:pathLst>
          </a:custGeom>
          <a:noFill/>
          <a:ln w="50800">
            <a:solidFill>
              <a:schemeClr val="bg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20" name="Titelplatzhalter 3">
            <a:extLst>
              <a:ext uri="{FF2B5EF4-FFF2-40B4-BE49-F238E27FC236}">
                <a16:creationId xmlns:a16="http://schemas.microsoft.com/office/drawing/2014/main" id="{5F18EB87-5187-C040-B5EA-5969BD043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5120" y="401945"/>
            <a:ext cx="8846773" cy="49244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Unsere Experten für Ihre Fragen</a:t>
            </a:r>
          </a:p>
        </p:txBody>
      </p:sp>
      <p:sp>
        <p:nvSpPr>
          <p:cNvPr id="25" name="Untertitel 2">
            <a:extLst>
              <a:ext uri="{FF2B5EF4-FFF2-40B4-BE49-F238E27FC236}">
                <a16:creationId xmlns:a16="http://schemas.microsoft.com/office/drawing/2014/main" id="{098C74F7-C47B-B64E-BCCA-665E6D77C5C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04503" y="2754721"/>
            <a:ext cx="5183717" cy="114948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i="0" kern="1200">
                <a:solidFill>
                  <a:srgbClr val="DAE3E7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67" dirty="0">
                <a:solidFill>
                  <a:schemeClr val="accent4"/>
                </a:solidFill>
              </a:rPr>
              <a:t>Steuerberater/In</a:t>
            </a:r>
            <a:br>
              <a:rPr lang="de-DE" sz="1067" dirty="0">
                <a:solidFill>
                  <a:schemeClr val="accent4"/>
                </a:solidFill>
              </a:rPr>
            </a:br>
            <a:endParaRPr lang="de-DE" sz="1067" dirty="0">
              <a:solidFill>
                <a:schemeClr val="accent4"/>
              </a:solidFill>
            </a:endParaRPr>
          </a:p>
          <a:p>
            <a:r>
              <a:rPr lang="de-DE" sz="1067" dirty="0">
                <a:solidFill>
                  <a:schemeClr val="accent4"/>
                </a:solidFill>
              </a:rPr>
              <a:t>AWADO Deutsche Audit GmbH</a:t>
            </a:r>
            <a:br>
              <a:rPr lang="de-DE" sz="1067" dirty="0">
                <a:solidFill>
                  <a:schemeClr val="accent4"/>
                </a:solidFill>
              </a:rPr>
            </a:br>
            <a:r>
              <a:rPr lang="de-DE" sz="1067" dirty="0">
                <a:solidFill>
                  <a:schemeClr val="accent4"/>
                </a:solidFill>
              </a:rPr>
              <a:t>&lt;Jobbezeichnung&gt;</a:t>
            </a:r>
            <a:br>
              <a:rPr lang="de-DE" sz="1067" dirty="0">
                <a:solidFill>
                  <a:schemeClr val="accent4"/>
                </a:solidFill>
              </a:rPr>
            </a:br>
            <a:endParaRPr lang="de-DE" sz="1067" dirty="0">
              <a:solidFill>
                <a:schemeClr val="accent4"/>
              </a:solidFill>
            </a:endParaRPr>
          </a:p>
          <a:p>
            <a:r>
              <a:rPr lang="de-DE" sz="1067" dirty="0">
                <a:solidFill>
                  <a:schemeClr val="accent4"/>
                </a:solidFill>
              </a:rPr>
              <a:t>Telefon:	&lt;Telefonnummer&gt;</a:t>
            </a:r>
          </a:p>
          <a:p>
            <a:r>
              <a:rPr lang="de-DE" sz="1067" dirty="0">
                <a:solidFill>
                  <a:schemeClr val="accent4"/>
                </a:solidFill>
              </a:rPr>
              <a:t>E-Mail:	&lt;Name&gt;@awado-wpg.de</a:t>
            </a:r>
          </a:p>
        </p:txBody>
      </p:sp>
      <p:sp>
        <p:nvSpPr>
          <p:cNvPr id="26" name="Textplatzhalter 34">
            <a:extLst>
              <a:ext uri="{FF2B5EF4-FFF2-40B4-BE49-F238E27FC236}">
                <a16:creationId xmlns:a16="http://schemas.microsoft.com/office/drawing/2014/main" id="{7C098050-3D4B-804E-BB7B-90824F9713F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951905" y="2770941"/>
            <a:ext cx="5199484" cy="105189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None/>
              <a:defRPr sz="800" i="0" kern="1200">
                <a:solidFill>
                  <a:srgbClr val="DAE3E7"/>
                </a:solidFill>
                <a:latin typeface="+mn-lt"/>
                <a:ea typeface="+mn-ea"/>
                <a:cs typeface="+mn-cs"/>
              </a:defRPr>
            </a:lvl1pPr>
            <a:lvl2pPr marL="162000" indent="-162000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00436E"/>
              </a:buClr>
              <a:buSzPct val="100000"/>
              <a:buFont typeface="Systemschrift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24000" indent="-162000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00436E"/>
              </a:buClr>
              <a:buSzPct val="100000"/>
              <a:buFont typeface="Systemschrift"/>
              <a:buChar char="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04813" indent="-134541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Char char="4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04813" indent="-134541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Char char="4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4813" indent="-134541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Char char="4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04813" indent="-134541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Char char="4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4813" indent="-134541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Char char="4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4813" indent="-134541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Char char="4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67" dirty="0">
                <a:solidFill>
                  <a:schemeClr val="accent4"/>
                </a:solidFill>
              </a:rPr>
              <a:t>Steuerberater/In</a:t>
            </a:r>
          </a:p>
          <a:p>
            <a:r>
              <a:rPr lang="de-DE" sz="1067" dirty="0">
                <a:solidFill>
                  <a:schemeClr val="accent4"/>
                </a:solidFill>
              </a:rPr>
              <a:t>AWADO Deutsche Audit GmbH</a:t>
            </a:r>
            <a:br>
              <a:rPr lang="de-DE" sz="1067" dirty="0">
                <a:solidFill>
                  <a:schemeClr val="accent4"/>
                </a:solidFill>
              </a:rPr>
            </a:br>
            <a:r>
              <a:rPr lang="de-DE" sz="1067" dirty="0">
                <a:solidFill>
                  <a:schemeClr val="accent4"/>
                </a:solidFill>
              </a:rPr>
              <a:t>&lt;Jobbezeichnung&gt;</a:t>
            </a:r>
          </a:p>
          <a:p>
            <a:r>
              <a:rPr lang="de-DE" sz="1067" dirty="0">
                <a:solidFill>
                  <a:schemeClr val="accent4"/>
                </a:solidFill>
              </a:rPr>
              <a:t>Telefon:	&lt;Telefonnummer&gt;</a:t>
            </a:r>
            <a:br>
              <a:rPr lang="de-DE" sz="1067" dirty="0">
                <a:solidFill>
                  <a:schemeClr val="accent4"/>
                </a:solidFill>
              </a:rPr>
            </a:br>
            <a:r>
              <a:rPr lang="de-DE" sz="1067" dirty="0">
                <a:solidFill>
                  <a:schemeClr val="accent4"/>
                </a:solidFill>
              </a:rPr>
              <a:t>E-Mail:	&lt;Name&gt;@awado-wpg.de</a:t>
            </a:r>
          </a:p>
        </p:txBody>
      </p:sp>
      <p:sp>
        <p:nvSpPr>
          <p:cNvPr id="27" name="Untertitel 2">
            <a:extLst>
              <a:ext uri="{FF2B5EF4-FFF2-40B4-BE49-F238E27FC236}">
                <a16:creationId xmlns:a16="http://schemas.microsoft.com/office/drawing/2014/main" id="{6E0AA545-CADE-E646-9C78-AF2D25ACADF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88913" y="2370075"/>
            <a:ext cx="5199308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i="0" kern="1200">
                <a:solidFill>
                  <a:srgbClr val="DAE3E7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b="1" i="0" dirty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Vorname Name</a:t>
            </a:r>
          </a:p>
        </p:txBody>
      </p:sp>
      <p:sp>
        <p:nvSpPr>
          <p:cNvPr id="28" name="Untertitel 2">
            <a:extLst>
              <a:ext uri="{FF2B5EF4-FFF2-40B4-BE49-F238E27FC236}">
                <a16:creationId xmlns:a16="http://schemas.microsoft.com/office/drawing/2014/main" id="{83273FEF-5E45-534C-A44E-04247DA995D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951905" y="2380754"/>
            <a:ext cx="5199308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i="0" kern="1200">
                <a:solidFill>
                  <a:srgbClr val="DAE3E7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b="1" i="0" dirty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Vorname Name</a:t>
            </a:r>
          </a:p>
        </p:txBody>
      </p:sp>
    </p:spTree>
    <p:extLst>
      <p:ext uri="{BB962C8B-B14F-4D97-AF65-F5344CB8AC3E}">
        <p14:creationId xmlns:p14="http://schemas.microsoft.com/office/powerpoint/2010/main" val="18855501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, 1 Person mit Bild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ABE3FC2-0140-497D-BA1F-C38442AC05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57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0ABE3FC2-0140-497D-BA1F-C38442AC05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9F49FD11-0C25-48C9-8A30-7B3F154F7067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210E971-0939-CE42-A711-A466490B918B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8" name="Foliennummernplatzhalter 37">
            <a:extLst>
              <a:ext uri="{FF2B5EF4-FFF2-40B4-BE49-F238E27FC236}">
                <a16:creationId xmlns:a16="http://schemas.microsoft.com/office/drawing/2014/main" id="{7EE03712-35B2-664E-BB92-4F701AA346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8DBAC312-E76A-4841-831B-F8D48CB3BCA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 bwMode="gray">
          <a:xfrm>
            <a:off x="10742401" y="189001"/>
            <a:ext cx="1079481" cy="608159"/>
          </a:xfrm>
          <a:prstGeom prst="rect">
            <a:avLst/>
          </a:prstGeom>
        </p:spPr>
      </p:pic>
      <p:sp>
        <p:nvSpPr>
          <p:cNvPr id="17" name="Freihandform 16">
            <a:extLst>
              <a:ext uri="{FF2B5EF4-FFF2-40B4-BE49-F238E27FC236}">
                <a16:creationId xmlns:a16="http://schemas.microsoft.com/office/drawing/2014/main" id="{FCF1C590-92B4-5B4F-B67F-B3799E3D0B89}"/>
              </a:ext>
            </a:extLst>
          </p:cNvPr>
          <p:cNvSpPr/>
          <p:nvPr userDrawn="1"/>
        </p:nvSpPr>
        <p:spPr bwMode="gray">
          <a:xfrm>
            <a:off x="388913" y="1090627"/>
            <a:ext cx="6624007" cy="292413"/>
          </a:xfrm>
          <a:custGeom>
            <a:avLst/>
            <a:gdLst>
              <a:gd name="connsiteX0" fmla="*/ 0 w 1389413"/>
              <a:gd name="connsiteY0" fmla="*/ 0 h 184067"/>
              <a:gd name="connsiteX1" fmla="*/ 575953 w 1389413"/>
              <a:gd name="connsiteY1" fmla="*/ 0 h 184067"/>
              <a:gd name="connsiteX2" fmla="*/ 575953 w 1389413"/>
              <a:gd name="connsiteY2" fmla="*/ 184067 h 184067"/>
              <a:gd name="connsiteX3" fmla="*/ 748145 w 1389413"/>
              <a:gd name="connsiteY3" fmla="*/ 11875 h 184067"/>
              <a:gd name="connsiteX4" fmla="*/ 1389413 w 1389413"/>
              <a:gd name="connsiteY4" fmla="*/ 11875 h 184067"/>
              <a:gd name="connsiteX0" fmla="*/ 0 w 1389413"/>
              <a:gd name="connsiteY0" fmla="*/ 0 h 184067"/>
              <a:gd name="connsiteX1" fmla="*/ 575953 w 1389413"/>
              <a:gd name="connsiteY1" fmla="*/ 0 h 184067"/>
              <a:gd name="connsiteX2" fmla="*/ 575953 w 1389413"/>
              <a:gd name="connsiteY2" fmla="*/ 184067 h 184067"/>
              <a:gd name="connsiteX3" fmla="*/ 666083 w 1389413"/>
              <a:gd name="connsiteY3" fmla="*/ 7774 h 184067"/>
              <a:gd name="connsiteX4" fmla="*/ 1389413 w 1389413"/>
              <a:gd name="connsiteY4" fmla="*/ 11875 h 184067"/>
              <a:gd name="connsiteX0" fmla="*/ 0 w 1288413"/>
              <a:gd name="connsiteY0" fmla="*/ 0 h 184067"/>
              <a:gd name="connsiteX1" fmla="*/ 575953 w 1288413"/>
              <a:gd name="connsiteY1" fmla="*/ 0 h 184067"/>
              <a:gd name="connsiteX2" fmla="*/ 575953 w 1288413"/>
              <a:gd name="connsiteY2" fmla="*/ 184067 h 184067"/>
              <a:gd name="connsiteX3" fmla="*/ 666083 w 1288413"/>
              <a:gd name="connsiteY3" fmla="*/ 7774 h 184067"/>
              <a:gd name="connsiteX4" fmla="*/ 1288413 w 1288413"/>
              <a:gd name="connsiteY4" fmla="*/ 11875 h 184067"/>
              <a:gd name="connsiteX0" fmla="*/ 0 w 1290042"/>
              <a:gd name="connsiteY0" fmla="*/ 0 h 184067"/>
              <a:gd name="connsiteX1" fmla="*/ 575953 w 1290042"/>
              <a:gd name="connsiteY1" fmla="*/ 0 h 184067"/>
              <a:gd name="connsiteX2" fmla="*/ 575953 w 1290042"/>
              <a:gd name="connsiteY2" fmla="*/ 184067 h 184067"/>
              <a:gd name="connsiteX3" fmla="*/ 666083 w 1290042"/>
              <a:gd name="connsiteY3" fmla="*/ 7774 h 184067"/>
              <a:gd name="connsiteX4" fmla="*/ 1290042 w 1290042"/>
              <a:gd name="connsiteY4" fmla="*/ 8700 h 184067"/>
              <a:gd name="connsiteX0" fmla="*/ 0 w 1290042"/>
              <a:gd name="connsiteY0" fmla="*/ 0 h 184067"/>
              <a:gd name="connsiteX1" fmla="*/ 575953 w 1290042"/>
              <a:gd name="connsiteY1" fmla="*/ 0 h 184067"/>
              <a:gd name="connsiteX2" fmla="*/ 575953 w 1290042"/>
              <a:gd name="connsiteY2" fmla="*/ 184067 h 184067"/>
              <a:gd name="connsiteX3" fmla="*/ 708067 w 1290042"/>
              <a:gd name="connsiteY3" fmla="*/ 7774 h 184067"/>
              <a:gd name="connsiteX4" fmla="*/ 1290042 w 1290042"/>
              <a:gd name="connsiteY4" fmla="*/ 8700 h 184067"/>
              <a:gd name="connsiteX0" fmla="*/ 0 w 1290042"/>
              <a:gd name="connsiteY0" fmla="*/ 0 h 208130"/>
              <a:gd name="connsiteX1" fmla="*/ 575953 w 1290042"/>
              <a:gd name="connsiteY1" fmla="*/ 0 h 208130"/>
              <a:gd name="connsiteX2" fmla="*/ 575953 w 1290042"/>
              <a:gd name="connsiteY2" fmla="*/ 208130 h 208130"/>
              <a:gd name="connsiteX3" fmla="*/ 708067 w 1290042"/>
              <a:gd name="connsiteY3" fmla="*/ 7774 h 208130"/>
              <a:gd name="connsiteX4" fmla="*/ 1290042 w 1290042"/>
              <a:gd name="connsiteY4" fmla="*/ 8700 h 208130"/>
              <a:gd name="connsiteX0" fmla="*/ 0 w 1290042"/>
              <a:gd name="connsiteY0" fmla="*/ 0 h 208130"/>
              <a:gd name="connsiteX1" fmla="*/ 482107 w 1290042"/>
              <a:gd name="connsiteY1" fmla="*/ 0 h 208130"/>
              <a:gd name="connsiteX2" fmla="*/ 575953 w 1290042"/>
              <a:gd name="connsiteY2" fmla="*/ 208130 h 208130"/>
              <a:gd name="connsiteX3" fmla="*/ 708067 w 1290042"/>
              <a:gd name="connsiteY3" fmla="*/ 7774 h 208130"/>
              <a:gd name="connsiteX4" fmla="*/ 1290042 w 1290042"/>
              <a:gd name="connsiteY4" fmla="*/ 8700 h 208130"/>
              <a:gd name="connsiteX0" fmla="*/ 0 w 1290042"/>
              <a:gd name="connsiteY0" fmla="*/ 0 h 212943"/>
              <a:gd name="connsiteX1" fmla="*/ 482107 w 1290042"/>
              <a:gd name="connsiteY1" fmla="*/ 0 h 212943"/>
              <a:gd name="connsiteX2" fmla="*/ 479637 w 1290042"/>
              <a:gd name="connsiteY2" fmla="*/ 212943 h 212943"/>
              <a:gd name="connsiteX3" fmla="*/ 708067 w 1290042"/>
              <a:gd name="connsiteY3" fmla="*/ 7774 h 212943"/>
              <a:gd name="connsiteX4" fmla="*/ 1290042 w 1290042"/>
              <a:gd name="connsiteY4" fmla="*/ 8700 h 212943"/>
              <a:gd name="connsiteX0" fmla="*/ 0 w 1290042"/>
              <a:gd name="connsiteY0" fmla="*/ 0 h 212943"/>
              <a:gd name="connsiteX1" fmla="*/ 482107 w 1290042"/>
              <a:gd name="connsiteY1" fmla="*/ 0 h 212943"/>
              <a:gd name="connsiteX2" fmla="*/ 479637 w 1290042"/>
              <a:gd name="connsiteY2" fmla="*/ 212943 h 212943"/>
              <a:gd name="connsiteX3" fmla="*/ 584585 w 1290042"/>
              <a:gd name="connsiteY3" fmla="*/ 7774 h 212943"/>
              <a:gd name="connsiteX4" fmla="*/ 1290042 w 1290042"/>
              <a:gd name="connsiteY4" fmla="*/ 8700 h 212943"/>
              <a:gd name="connsiteX0" fmla="*/ 0 w 1290042"/>
              <a:gd name="connsiteY0" fmla="*/ 0 h 217756"/>
              <a:gd name="connsiteX1" fmla="*/ 482107 w 1290042"/>
              <a:gd name="connsiteY1" fmla="*/ 0 h 217756"/>
              <a:gd name="connsiteX2" fmla="*/ 484577 w 1290042"/>
              <a:gd name="connsiteY2" fmla="*/ 217756 h 217756"/>
              <a:gd name="connsiteX3" fmla="*/ 584585 w 1290042"/>
              <a:gd name="connsiteY3" fmla="*/ 7774 h 217756"/>
              <a:gd name="connsiteX4" fmla="*/ 1290042 w 1290042"/>
              <a:gd name="connsiteY4" fmla="*/ 8700 h 217756"/>
              <a:gd name="connsiteX0" fmla="*/ 0 w 1290042"/>
              <a:gd name="connsiteY0" fmla="*/ 0 h 225572"/>
              <a:gd name="connsiteX1" fmla="*/ 482107 w 1290042"/>
              <a:gd name="connsiteY1" fmla="*/ 0 h 225572"/>
              <a:gd name="connsiteX2" fmla="*/ 480567 w 1290042"/>
              <a:gd name="connsiteY2" fmla="*/ 225572 h 225572"/>
              <a:gd name="connsiteX3" fmla="*/ 584585 w 1290042"/>
              <a:gd name="connsiteY3" fmla="*/ 7774 h 225572"/>
              <a:gd name="connsiteX4" fmla="*/ 1290042 w 1290042"/>
              <a:gd name="connsiteY4" fmla="*/ 8700 h 225572"/>
              <a:gd name="connsiteX0" fmla="*/ 0 w 1290042"/>
              <a:gd name="connsiteY0" fmla="*/ 0 h 225572"/>
              <a:gd name="connsiteX1" fmla="*/ 482107 w 1290042"/>
              <a:gd name="connsiteY1" fmla="*/ 0 h 225572"/>
              <a:gd name="connsiteX2" fmla="*/ 480567 w 1290042"/>
              <a:gd name="connsiteY2" fmla="*/ 225572 h 225572"/>
              <a:gd name="connsiteX3" fmla="*/ 600627 w 1290042"/>
              <a:gd name="connsiteY3" fmla="*/ 7774 h 225572"/>
              <a:gd name="connsiteX4" fmla="*/ 1290042 w 1290042"/>
              <a:gd name="connsiteY4" fmla="*/ 8700 h 225572"/>
              <a:gd name="connsiteX0" fmla="*/ 0 w 1381667"/>
              <a:gd name="connsiteY0" fmla="*/ 0 h 230983"/>
              <a:gd name="connsiteX1" fmla="*/ 573732 w 1381667"/>
              <a:gd name="connsiteY1" fmla="*/ 5411 h 230983"/>
              <a:gd name="connsiteX2" fmla="*/ 572192 w 1381667"/>
              <a:gd name="connsiteY2" fmla="*/ 230983 h 230983"/>
              <a:gd name="connsiteX3" fmla="*/ 692252 w 1381667"/>
              <a:gd name="connsiteY3" fmla="*/ 13185 h 230983"/>
              <a:gd name="connsiteX4" fmla="*/ 1381667 w 1381667"/>
              <a:gd name="connsiteY4" fmla="*/ 14111 h 230983"/>
              <a:gd name="connsiteX0" fmla="*/ 0 w 1881441"/>
              <a:gd name="connsiteY0" fmla="*/ 0 h 230983"/>
              <a:gd name="connsiteX1" fmla="*/ 573732 w 1881441"/>
              <a:gd name="connsiteY1" fmla="*/ 5411 h 230983"/>
              <a:gd name="connsiteX2" fmla="*/ 572192 w 1881441"/>
              <a:gd name="connsiteY2" fmla="*/ 230983 h 230983"/>
              <a:gd name="connsiteX3" fmla="*/ 692252 w 1881441"/>
              <a:gd name="connsiteY3" fmla="*/ 13185 h 230983"/>
              <a:gd name="connsiteX4" fmla="*/ 1881441 w 1881441"/>
              <a:gd name="connsiteY4" fmla="*/ 14111 h 230983"/>
              <a:gd name="connsiteX0" fmla="*/ 0 w 1884217"/>
              <a:gd name="connsiteY0" fmla="*/ 0 h 225573"/>
              <a:gd name="connsiteX1" fmla="*/ 576508 w 1884217"/>
              <a:gd name="connsiteY1" fmla="*/ 1 h 225573"/>
              <a:gd name="connsiteX2" fmla="*/ 574968 w 1884217"/>
              <a:gd name="connsiteY2" fmla="*/ 225573 h 225573"/>
              <a:gd name="connsiteX3" fmla="*/ 695028 w 1884217"/>
              <a:gd name="connsiteY3" fmla="*/ 7775 h 225573"/>
              <a:gd name="connsiteX4" fmla="*/ 1884217 w 1884217"/>
              <a:gd name="connsiteY4" fmla="*/ 8701 h 225573"/>
              <a:gd name="connsiteX0" fmla="*/ 0 w 1900876"/>
              <a:gd name="connsiteY0" fmla="*/ 0 h 225573"/>
              <a:gd name="connsiteX1" fmla="*/ 576508 w 1900876"/>
              <a:gd name="connsiteY1" fmla="*/ 1 h 225573"/>
              <a:gd name="connsiteX2" fmla="*/ 574968 w 1900876"/>
              <a:gd name="connsiteY2" fmla="*/ 225573 h 225573"/>
              <a:gd name="connsiteX3" fmla="*/ 695028 w 1900876"/>
              <a:gd name="connsiteY3" fmla="*/ 7775 h 225573"/>
              <a:gd name="connsiteX4" fmla="*/ 1900876 w 1900876"/>
              <a:gd name="connsiteY4" fmla="*/ 8701 h 225573"/>
              <a:gd name="connsiteX0" fmla="*/ 0 w 1917535"/>
              <a:gd name="connsiteY0" fmla="*/ 0 h 225573"/>
              <a:gd name="connsiteX1" fmla="*/ 593167 w 1917535"/>
              <a:gd name="connsiteY1" fmla="*/ 1 h 225573"/>
              <a:gd name="connsiteX2" fmla="*/ 591627 w 1917535"/>
              <a:gd name="connsiteY2" fmla="*/ 225573 h 225573"/>
              <a:gd name="connsiteX3" fmla="*/ 711687 w 1917535"/>
              <a:gd name="connsiteY3" fmla="*/ 7775 h 225573"/>
              <a:gd name="connsiteX4" fmla="*/ 1917535 w 1917535"/>
              <a:gd name="connsiteY4" fmla="*/ 8701 h 225573"/>
              <a:gd name="connsiteX0" fmla="*/ 0 w 1917535"/>
              <a:gd name="connsiteY0" fmla="*/ 0 h 219310"/>
              <a:gd name="connsiteX1" fmla="*/ 593167 w 1917535"/>
              <a:gd name="connsiteY1" fmla="*/ 1 h 219310"/>
              <a:gd name="connsiteX2" fmla="*/ 594841 w 1917535"/>
              <a:gd name="connsiteY2" fmla="*/ 219310 h 219310"/>
              <a:gd name="connsiteX3" fmla="*/ 711687 w 1917535"/>
              <a:gd name="connsiteY3" fmla="*/ 7775 h 219310"/>
              <a:gd name="connsiteX4" fmla="*/ 1917535 w 1917535"/>
              <a:gd name="connsiteY4" fmla="*/ 8701 h 219310"/>
              <a:gd name="connsiteX0" fmla="*/ 0 w 2071803"/>
              <a:gd name="connsiteY0" fmla="*/ 0 h 219310"/>
              <a:gd name="connsiteX1" fmla="*/ 593167 w 2071803"/>
              <a:gd name="connsiteY1" fmla="*/ 1 h 219310"/>
              <a:gd name="connsiteX2" fmla="*/ 594841 w 2071803"/>
              <a:gd name="connsiteY2" fmla="*/ 219310 h 219310"/>
              <a:gd name="connsiteX3" fmla="*/ 711687 w 2071803"/>
              <a:gd name="connsiteY3" fmla="*/ 7775 h 219310"/>
              <a:gd name="connsiteX4" fmla="*/ 2071803 w 2071803"/>
              <a:gd name="connsiteY4" fmla="*/ 8701 h 219310"/>
              <a:gd name="connsiteX0" fmla="*/ 0 w 1914321"/>
              <a:gd name="connsiteY0" fmla="*/ 0 h 219310"/>
              <a:gd name="connsiteX1" fmla="*/ 593167 w 1914321"/>
              <a:gd name="connsiteY1" fmla="*/ 1 h 219310"/>
              <a:gd name="connsiteX2" fmla="*/ 594841 w 1914321"/>
              <a:gd name="connsiteY2" fmla="*/ 219310 h 219310"/>
              <a:gd name="connsiteX3" fmla="*/ 711687 w 1914321"/>
              <a:gd name="connsiteY3" fmla="*/ 7775 h 219310"/>
              <a:gd name="connsiteX4" fmla="*/ 1914321 w 1914321"/>
              <a:gd name="connsiteY4" fmla="*/ 8701 h 219310"/>
              <a:gd name="connsiteX0" fmla="*/ 0 w 2549372"/>
              <a:gd name="connsiteY0" fmla="*/ 0 h 219310"/>
              <a:gd name="connsiteX1" fmla="*/ 593167 w 2549372"/>
              <a:gd name="connsiteY1" fmla="*/ 1 h 219310"/>
              <a:gd name="connsiteX2" fmla="*/ 594841 w 2549372"/>
              <a:gd name="connsiteY2" fmla="*/ 219310 h 219310"/>
              <a:gd name="connsiteX3" fmla="*/ 711687 w 2549372"/>
              <a:gd name="connsiteY3" fmla="*/ 7775 h 219310"/>
              <a:gd name="connsiteX4" fmla="*/ 2549372 w 2549372"/>
              <a:gd name="connsiteY4" fmla="*/ 8701 h 21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49372" h="219310">
                <a:moveTo>
                  <a:pt x="0" y="0"/>
                </a:moveTo>
                <a:lnTo>
                  <a:pt x="593167" y="1"/>
                </a:lnTo>
                <a:cubicBezTo>
                  <a:pt x="592344" y="70982"/>
                  <a:pt x="595664" y="148329"/>
                  <a:pt x="594841" y="219310"/>
                </a:cubicBezTo>
                <a:lnTo>
                  <a:pt x="711687" y="7775"/>
                </a:lnTo>
                <a:lnTo>
                  <a:pt x="2549372" y="8701"/>
                </a:lnTo>
              </a:path>
            </a:pathLst>
          </a:custGeom>
          <a:noFill/>
          <a:ln w="50800">
            <a:solidFill>
              <a:schemeClr val="bg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20" name="Titelplatzhalter 3">
            <a:extLst>
              <a:ext uri="{FF2B5EF4-FFF2-40B4-BE49-F238E27FC236}">
                <a16:creationId xmlns:a16="http://schemas.microsoft.com/office/drawing/2014/main" id="{318358EA-6B28-9244-A7EB-1375454860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5120" y="401945"/>
            <a:ext cx="8846773" cy="49244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Unser Experte für Ihre Fragen</a:t>
            </a:r>
          </a:p>
        </p:txBody>
      </p:sp>
      <p:sp>
        <p:nvSpPr>
          <p:cNvPr id="25" name="Untertitel 2">
            <a:extLst>
              <a:ext uri="{FF2B5EF4-FFF2-40B4-BE49-F238E27FC236}">
                <a16:creationId xmlns:a16="http://schemas.microsoft.com/office/drawing/2014/main" id="{542FE248-58D8-E34A-A17E-3AC9A52C832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04503" y="4474012"/>
            <a:ext cx="5183717" cy="114948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i="0" kern="1200">
                <a:solidFill>
                  <a:srgbClr val="DAE3E7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67" dirty="0">
                <a:solidFill>
                  <a:schemeClr val="accent4"/>
                </a:solidFill>
              </a:rPr>
              <a:t>Steuerberater/In</a:t>
            </a:r>
            <a:br>
              <a:rPr lang="de-DE" sz="1067" dirty="0">
                <a:solidFill>
                  <a:schemeClr val="accent4"/>
                </a:solidFill>
              </a:rPr>
            </a:br>
            <a:endParaRPr lang="de-DE" sz="1067" dirty="0">
              <a:solidFill>
                <a:schemeClr val="accent4"/>
              </a:solidFill>
            </a:endParaRPr>
          </a:p>
          <a:p>
            <a:r>
              <a:rPr lang="de-DE" sz="1067" dirty="0">
                <a:solidFill>
                  <a:schemeClr val="accent4"/>
                </a:solidFill>
              </a:rPr>
              <a:t>AWADO Deutsche Audit GmbH</a:t>
            </a:r>
            <a:br>
              <a:rPr lang="de-DE" sz="1067" dirty="0">
                <a:solidFill>
                  <a:schemeClr val="accent4"/>
                </a:solidFill>
              </a:rPr>
            </a:br>
            <a:r>
              <a:rPr lang="de-DE" sz="1067" dirty="0">
                <a:solidFill>
                  <a:schemeClr val="accent4"/>
                </a:solidFill>
              </a:rPr>
              <a:t>&lt;Jobbezeichnung&gt;</a:t>
            </a:r>
            <a:br>
              <a:rPr lang="de-DE" sz="1067" dirty="0">
                <a:solidFill>
                  <a:schemeClr val="accent4"/>
                </a:solidFill>
              </a:rPr>
            </a:br>
            <a:endParaRPr lang="de-DE" sz="1067" dirty="0">
              <a:solidFill>
                <a:schemeClr val="accent4"/>
              </a:solidFill>
            </a:endParaRPr>
          </a:p>
          <a:p>
            <a:r>
              <a:rPr lang="de-DE" sz="1067" dirty="0">
                <a:solidFill>
                  <a:schemeClr val="accent4"/>
                </a:solidFill>
              </a:rPr>
              <a:t>Telefon:	&lt;Telefonnummer&gt;</a:t>
            </a:r>
          </a:p>
          <a:p>
            <a:r>
              <a:rPr lang="de-DE" sz="1067" dirty="0">
                <a:solidFill>
                  <a:schemeClr val="accent4"/>
                </a:solidFill>
              </a:rPr>
              <a:t>E-Mail:	&lt;Name&gt;@awado-wpg.de</a:t>
            </a:r>
          </a:p>
        </p:txBody>
      </p:sp>
      <p:sp>
        <p:nvSpPr>
          <p:cNvPr id="27" name="Untertitel 2">
            <a:extLst>
              <a:ext uri="{FF2B5EF4-FFF2-40B4-BE49-F238E27FC236}">
                <a16:creationId xmlns:a16="http://schemas.microsoft.com/office/drawing/2014/main" id="{1BA47CD1-31FF-F64D-9399-F1C04AC67E1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88913" y="4089366"/>
            <a:ext cx="5199308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i="0" kern="1200">
                <a:solidFill>
                  <a:srgbClr val="DAE3E7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b="1" i="0" dirty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Vorname Name</a:t>
            </a:r>
          </a:p>
        </p:txBody>
      </p:sp>
      <p:pic>
        <p:nvPicPr>
          <p:cNvPr id="32" name="Grafik 31">
            <a:extLst>
              <a:ext uri="{FF2B5EF4-FFF2-40B4-BE49-F238E27FC236}">
                <a16:creationId xmlns:a16="http://schemas.microsoft.com/office/drawing/2014/main" id="{B2BE17AD-6B12-EB4B-ABC6-3CED7091F9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392970" y="1584903"/>
            <a:ext cx="2409365" cy="2250736"/>
          </a:xfrm>
          <a:prstGeom prst="round1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572885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ABE624-CC77-4410-BFDB-C32254C294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C2471E2-878C-414B-A515-0FF127F2A3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CE798E6-1615-46BE-BB5D-3AD635B94D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DFB0F2-55F5-46F2-BCEF-613C3D047E68}" type="datetime1">
              <a:rPr lang="de-DE" smtClean="0"/>
              <a:t>25.09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8DC05B0-B8E7-422F-84FE-1EAE602B83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Umfrage vom 20.7.2023 bis 11.08.2023; Teilnahmequote: 75 Prozent der Mitgliedsbanken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0503B1A-F738-4867-91E9-0D7DF18294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0676B-BFEB-47E1-A313-420DA8D05D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6404706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, 2 Personen mit Bild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D203BC2-DB2E-42CA-B24B-A227AF4A57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8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FD203BC2-DB2E-42CA-B24B-A227AF4A57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22444B93-365E-4963-B7E3-36B412B061D0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210E971-0939-CE42-A711-A466490B918B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8" name="Foliennummernplatzhalter 37">
            <a:extLst>
              <a:ext uri="{FF2B5EF4-FFF2-40B4-BE49-F238E27FC236}">
                <a16:creationId xmlns:a16="http://schemas.microsoft.com/office/drawing/2014/main" id="{7EE03712-35B2-664E-BB92-4F701AA346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53141C28-6FFF-3743-82B5-779BE9650DF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 bwMode="gray">
          <a:xfrm>
            <a:off x="10742401" y="189001"/>
            <a:ext cx="1079481" cy="608159"/>
          </a:xfrm>
          <a:prstGeom prst="rect">
            <a:avLst/>
          </a:prstGeom>
        </p:spPr>
      </p:pic>
      <p:sp>
        <p:nvSpPr>
          <p:cNvPr id="19" name="Freihandform 18">
            <a:extLst>
              <a:ext uri="{FF2B5EF4-FFF2-40B4-BE49-F238E27FC236}">
                <a16:creationId xmlns:a16="http://schemas.microsoft.com/office/drawing/2014/main" id="{E9D99120-D041-344F-9CF5-AE03667F2E88}"/>
              </a:ext>
            </a:extLst>
          </p:cNvPr>
          <p:cNvSpPr/>
          <p:nvPr userDrawn="1"/>
        </p:nvSpPr>
        <p:spPr bwMode="gray">
          <a:xfrm>
            <a:off x="388913" y="1088750"/>
            <a:ext cx="7170695" cy="292413"/>
          </a:xfrm>
          <a:custGeom>
            <a:avLst/>
            <a:gdLst>
              <a:gd name="connsiteX0" fmla="*/ 0 w 1389413"/>
              <a:gd name="connsiteY0" fmla="*/ 0 h 184067"/>
              <a:gd name="connsiteX1" fmla="*/ 575953 w 1389413"/>
              <a:gd name="connsiteY1" fmla="*/ 0 h 184067"/>
              <a:gd name="connsiteX2" fmla="*/ 575953 w 1389413"/>
              <a:gd name="connsiteY2" fmla="*/ 184067 h 184067"/>
              <a:gd name="connsiteX3" fmla="*/ 748145 w 1389413"/>
              <a:gd name="connsiteY3" fmla="*/ 11875 h 184067"/>
              <a:gd name="connsiteX4" fmla="*/ 1389413 w 1389413"/>
              <a:gd name="connsiteY4" fmla="*/ 11875 h 184067"/>
              <a:gd name="connsiteX0" fmla="*/ 0 w 1389413"/>
              <a:gd name="connsiteY0" fmla="*/ 0 h 184067"/>
              <a:gd name="connsiteX1" fmla="*/ 575953 w 1389413"/>
              <a:gd name="connsiteY1" fmla="*/ 0 h 184067"/>
              <a:gd name="connsiteX2" fmla="*/ 575953 w 1389413"/>
              <a:gd name="connsiteY2" fmla="*/ 184067 h 184067"/>
              <a:gd name="connsiteX3" fmla="*/ 666083 w 1389413"/>
              <a:gd name="connsiteY3" fmla="*/ 7774 h 184067"/>
              <a:gd name="connsiteX4" fmla="*/ 1389413 w 1389413"/>
              <a:gd name="connsiteY4" fmla="*/ 11875 h 184067"/>
              <a:gd name="connsiteX0" fmla="*/ 0 w 1288413"/>
              <a:gd name="connsiteY0" fmla="*/ 0 h 184067"/>
              <a:gd name="connsiteX1" fmla="*/ 575953 w 1288413"/>
              <a:gd name="connsiteY1" fmla="*/ 0 h 184067"/>
              <a:gd name="connsiteX2" fmla="*/ 575953 w 1288413"/>
              <a:gd name="connsiteY2" fmla="*/ 184067 h 184067"/>
              <a:gd name="connsiteX3" fmla="*/ 666083 w 1288413"/>
              <a:gd name="connsiteY3" fmla="*/ 7774 h 184067"/>
              <a:gd name="connsiteX4" fmla="*/ 1288413 w 1288413"/>
              <a:gd name="connsiteY4" fmla="*/ 11875 h 184067"/>
              <a:gd name="connsiteX0" fmla="*/ 0 w 1290042"/>
              <a:gd name="connsiteY0" fmla="*/ 0 h 184067"/>
              <a:gd name="connsiteX1" fmla="*/ 575953 w 1290042"/>
              <a:gd name="connsiteY1" fmla="*/ 0 h 184067"/>
              <a:gd name="connsiteX2" fmla="*/ 575953 w 1290042"/>
              <a:gd name="connsiteY2" fmla="*/ 184067 h 184067"/>
              <a:gd name="connsiteX3" fmla="*/ 666083 w 1290042"/>
              <a:gd name="connsiteY3" fmla="*/ 7774 h 184067"/>
              <a:gd name="connsiteX4" fmla="*/ 1290042 w 1290042"/>
              <a:gd name="connsiteY4" fmla="*/ 8700 h 184067"/>
              <a:gd name="connsiteX0" fmla="*/ 0 w 1290042"/>
              <a:gd name="connsiteY0" fmla="*/ 0 h 184067"/>
              <a:gd name="connsiteX1" fmla="*/ 575953 w 1290042"/>
              <a:gd name="connsiteY1" fmla="*/ 0 h 184067"/>
              <a:gd name="connsiteX2" fmla="*/ 575953 w 1290042"/>
              <a:gd name="connsiteY2" fmla="*/ 184067 h 184067"/>
              <a:gd name="connsiteX3" fmla="*/ 708067 w 1290042"/>
              <a:gd name="connsiteY3" fmla="*/ 7774 h 184067"/>
              <a:gd name="connsiteX4" fmla="*/ 1290042 w 1290042"/>
              <a:gd name="connsiteY4" fmla="*/ 8700 h 184067"/>
              <a:gd name="connsiteX0" fmla="*/ 0 w 1290042"/>
              <a:gd name="connsiteY0" fmla="*/ 0 h 208130"/>
              <a:gd name="connsiteX1" fmla="*/ 575953 w 1290042"/>
              <a:gd name="connsiteY1" fmla="*/ 0 h 208130"/>
              <a:gd name="connsiteX2" fmla="*/ 575953 w 1290042"/>
              <a:gd name="connsiteY2" fmla="*/ 208130 h 208130"/>
              <a:gd name="connsiteX3" fmla="*/ 708067 w 1290042"/>
              <a:gd name="connsiteY3" fmla="*/ 7774 h 208130"/>
              <a:gd name="connsiteX4" fmla="*/ 1290042 w 1290042"/>
              <a:gd name="connsiteY4" fmla="*/ 8700 h 208130"/>
              <a:gd name="connsiteX0" fmla="*/ 0 w 1290042"/>
              <a:gd name="connsiteY0" fmla="*/ 0 h 208130"/>
              <a:gd name="connsiteX1" fmla="*/ 482107 w 1290042"/>
              <a:gd name="connsiteY1" fmla="*/ 0 h 208130"/>
              <a:gd name="connsiteX2" fmla="*/ 575953 w 1290042"/>
              <a:gd name="connsiteY2" fmla="*/ 208130 h 208130"/>
              <a:gd name="connsiteX3" fmla="*/ 708067 w 1290042"/>
              <a:gd name="connsiteY3" fmla="*/ 7774 h 208130"/>
              <a:gd name="connsiteX4" fmla="*/ 1290042 w 1290042"/>
              <a:gd name="connsiteY4" fmla="*/ 8700 h 208130"/>
              <a:gd name="connsiteX0" fmla="*/ 0 w 1290042"/>
              <a:gd name="connsiteY0" fmla="*/ 0 h 212943"/>
              <a:gd name="connsiteX1" fmla="*/ 482107 w 1290042"/>
              <a:gd name="connsiteY1" fmla="*/ 0 h 212943"/>
              <a:gd name="connsiteX2" fmla="*/ 479637 w 1290042"/>
              <a:gd name="connsiteY2" fmla="*/ 212943 h 212943"/>
              <a:gd name="connsiteX3" fmla="*/ 708067 w 1290042"/>
              <a:gd name="connsiteY3" fmla="*/ 7774 h 212943"/>
              <a:gd name="connsiteX4" fmla="*/ 1290042 w 1290042"/>
              <a:gd name="connsiteY4" fmla="*/ 8700 h 212943"/>
              <a:gd name="connsiteX0" fmla="*/ 0 w 1290042"/>
              <a:gd name="connsiteY0" fmla="*/ 0 h 212943"/>
              <a:gd name="connsiteX1" fmla="*/ 482107 w 1290042"/>
              <a:gd name="connsiteY1" fmla="*/ 0 h 212943"/>
              <a:gd name="connsiteX2" fmla="*/ 479637 w 1290042"/>
              <a:gd name="connsiteY2" fmla="*/ 212943 h 212943"/>
              <a:gd name="connsiteX3" fmla="*/ 584585 w 1290042"/>
              <a:gd name="connsiteY3" fmla="*/ 7774 h 212943"/>
              <a:gd name="connsiteX4" fmla="*/ 1290042 w 1290042"/>
              <a:gd name="connsiteY4" fmla="*/ 8700 h 212943"/>
              <a:gd name="connsiteX0" fmla="*/ 0 w 1290042"/>
              <a:gd name="connsiteY0" fmla="*/ 0 h 217756"/>
              <a:gd name="connsiteX1" fmla="*/ 482107 w 1290042"/>
              <a:gd name="connsiteY1" fmla="*/ 0 h 217756"/>
              <a:gd name="connsiteX2" fmla="*/ 484577 w 1290042"/>
              <a:gd name="connsiteY2" fmla="*/ 217756 h 217756"/>
              <a:gd name="connsiteX3" fmla="*/ 584585 w 1290042"/>
              <a:gd name="connsiteY3" fmla="*/ 7774 h 217756"/>
              <a:gd name="connsiteX4" fmla="*/ 1290042 w 1290042"/>
              <a:gd name="connsiteY4" fmla="*/ 8700 h 217756"/>
              <a:gd name="connsiteX0" fmla="*/ 0 w 1290042"/>
              <a:gd name="connsiteY0" fmla="*/ 0 h 225572"/>
              <a:gd name="connsiteX1" fmla="*/ 482107 w 1290042"/>
              <a:gd name="connsiteY1" fmla="*/ 0 h 225572"/>
              <a:gd name="connsiteX2" fmla="*/ 480567 w 1290042"/>
              <a:gd name="connsiteY2" fmla="*/ 225572 h 225572"/>
              <a:gd name="connsiteX3" fmla="*/ 584585 w 1290042"/>
              <a:gd name="connsiteY3" fmla="*/ 7774 h 225572"/>
              <a:gd name="connsiteX4" fmla="*/ 1290042 w 1290042"/>
              <a:gd name="connsiteY4" fmla="*/ 8700 h 225572"/>
              <a:gd name="connsiteX0" fmla="*/ 0 w 1290042"/>
              <a:gd name="connsiteY0" fmla="*/ 0 h 225572"/>
              <a:gd name="connsiteX1" fmla="*/ 482107 w 1290042"/>
              <a:gd name="connsiteY1" fmla="*/ 0 h 225572"/>
              <a:gd name="connsiteX2" fmla="*/ 480567 w 1290042"/>
              <a:gd name="connsiteY2" fmla="*/ 225572 h 225572"/>
              <a:gd name="connsiteX3" fmla="*/ 600627 w 1290042"/>
              <a:gd name="connsiteY3" fmla="*/ 7774 h 225572"/>
              <a:gd name="connsiteX4" fmla="*/ 1290042 w 1290042"/>
              <a:gd name="connsiteY4" fmla="*/ 8700 h 225572"/>
              <a:gd name="connsiteX0" fmla="*/ 0 w 1381667"/>
              <a:gd name="connsiteY0" fmla="*/ 0 h 230983"/>
              <a:gd name="connsiteX1" fmla="*/ 573732 w 1381667"/>
              <a:gd name="connsiteY1" fmla="*/ 5411 h 230983"/>
              <a:gd name="connsiteX2" fmla="*/ 572192 w 1381667"/>
              <a:gd name="connsiteY2" fmla="*/ 230983 h 230983"/>
              <a:gd name="connsiteX3" fmla="*/ 692252 w 1381667"/>
              <a:gd name="connsiteY3" fmla="*/ 13185 h 230983"/>
              <a:gd name="connsiteX4" fmla="*/ 1381667 w 1381667"/>
              <a:gd name="connsiteY4" fmla="*/ 14111 h 230983"/>
              <a:gd name="connsiteX0" fmla="*/ 0 w 1881441"/>
              <a:gd name="connsiteY0" fmla="*/ 0 h 230983"/>
              <a:gd name="connsiteX1" fmla="*/ 573732 w 1881441"/>
              <a:gd name="connsiteY1" fmla="*/ 5411 h 230983"/>
              <a:gd name="connsiteX2" fmla="*/ 572192 w 1881441"/>
              <a:gd name="connsiteY2" fmla="*/ 230983 h 230983"/>
              <a:gd name="connsiteX3" fmla="*/ 692252 w 1881441"/>
              <a:gd name="connsiteY3" fmla="*/ 13185 h 230983"/>
              <a:gd name="connsiteX4" fmla="*/ 1881441 w 1881441"/>
              <a:gd name="connsiteY4" fmla="*/ 14111 h 230983"/>
              <a:gd name="connsiteX0" fmla="*/ 0 w 1884217"/>
              <a:gd name="connsiteY0" fmla="*/ 0 h 225573"/>
              <a:gd name="connsiteX1" fmla="*/ 576508 w 1884217"/>
              <a:gd name="connsiteY1" fmla="*/ 1 h 225573"/>
              <a:gd name="connsiteX2" fmla="*/ 574968 w 1884217"/>
              <a:gd name="connsiteY2" fmla="*/ 225573 h 225573"/>
              <a:gd name="connsiteX3" fmla="*/ 695028 w 1884217"/>
              <a:gd name="connsiteY3" fmla="*/ 7775 h 225573"/>
              <a:gd name="connsiteX4" fmla="*/ 1884217 w 1884217"/>
              <a:gd name="connsiteY4" fmla="*/ 8701 h 225573"/>
              <a:gd name="connsiteX0" fmla="*/ 0 w 1900876"/>
              <a:gd name="connsiteY0" fmla="*/ 0 h 225573"/>
              <a:gd name="connsiteX1" fmla="*/ 576508 w 1900876"/>
              <a:gd name="connsiteY1" fmla="*/ 1 h 225573"/>
              <a:gd name="connsiteX2" fmla="*/ 574968 w 1900876"/>
              <a:gd name="connsiteY2" fmla="*/ 225573 h 225573"/>
              <a:gd name="connsiteX3" fmla="*/ 695028 w 1900876"/>
              <a:gd name="connsiteY3" fmla="*/ 7775 h 225573"/>
              <a:gd name="connsiteX4" fmla="*/ 1900876 w 1900876"/>
              <a:gd name="connsiteY4" fmla="*/ 8701 h 225573"/>
              <a:gd name="connsiteX0" fmla="*/ 0 w 1917535"/>
              <a:gd name="connsiteY0" fmla="*/ 0 h 225573"/>
              <a:gd name="connsiteX1" fmla="*/ 593167 w 1917535"/>
              <a:gd name="connsiteY1" fmla="*/ 1 h 225573"/>
              <a:gd name="connsiteX2" fmla="*/ 591627 w 1917535"/>
              <a:gd name="connsiteY2" fmla="*/ 225573 h 225573"/>
              <a:gd name="connsiteX3" fmla="*/ 711687 w 1917535"/>
              <a:gd name="connsiteY3" fmla="*/ 7775 h 225573"/>
              <a:gd name="connsiteX4" fmla="*/ 1917535 w 1917535"/>
              <a:gd name="connsiteY4" fmla="*/ 8701 h 225573"/>
              <a:gd name="connsiteX0" fmla="*/ 0 w 1917535"/>
              <a:gd name="connsiteY0" fmla="*/ 0 h 219310"/>
              <a:gd name="connsiteX1" fmla="*/ 593167 w 1917535"/>
              <a:gd name="connsiteY1" fmla="*/ 1 h 219310"/>
              <a:gd name="connsiteX2" fmla="*/ 594841 w 1917535"/>
              <a:gd name="connsiteY2" fmla="*/ 219310 h 219310"/>
              <a:gd name="connsiteX3" fmla="*/ 711687 w 1917535"/>
              <a:gd name="connsiteY3" fmla="*/ 7775 h 219310"/>
              <a:gd name="connsiteX4" fmla="*/ 1917535 w 1917535"/>
              <a:gd name="connsiteY4" fmla="*/ 8701 h 219310"/>
              <a:gd name="connsiteX0" fmla="*/ 0 w 2071803"/>
              <a:gd name="connsiteY0" fmla="*/ 0 h 219310"/>
              <a:gd name="connsiteX1" fmla="*/ 593167 w 2071803"/>
              <a:gd name="connsiteY1" fmla="*/ 1 h 219310"/>
              <a:gd name="connsiteX2" fmla="*/ 594841 w 2071803"/>
              <a:gd name="connsiteY2" fmla="*/ 219310 h 219310"/>
              <a:gd name="connsiteX3" fmla="*/ 711687 w 2071803"/>
              <a:gd name="connsiteY3" fmla="*/ 7775 h 219310"/>
              <a:gd name="connsiteX4" fmla="*/ 2071803 w 2071803"/>
              <a:gd name="connsiteY4" fmla="*/ 8701 h 219310"/>
              <a:gd name="connsiteX0" fmla="*/ 0 w 2759775"/>
              <a:gd name="connsiteY0" fmla="*/ 0 h 219310"/>
              <a:gd name="connsiteX1" fmla="*/ 593167 w 2759775"/>
              <a:gd name="connsiteY1" fmla="*/ 1 h 219310"/>
              <a:gd name="connsiteX2" fmla="*/ 594841 w 2759775"/>
              <a:gd name="connsiteY2" fmla="*/ 219310 h 219310"/>
              <a:gd name="connsiteX3" fmla="*/ 711687 w 2759775"/>
              <a:gd name="connsiteY3" fmla="*/ 7775 h 219310"/>
              <a:gd name="connsiteX4" fmla="*/ 2759775 w 2759775"/>
              <a:gd name="connsiteY4" fmla="*/ 8701 h 21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59775" h="219310">
                <a:moveTo>
                  <a:pt x="0" y="0"/>
                </a:moveTo>
                <a:lnTo>
                  <a:pt x="593167" y="1"/>
                </a:lnTo>
                <a:cubicBezTo>
                  <a:pt x="592344" y="70982"/>
                  <a:pt x="595664" y="148329"/>
                  <a:pt x="594841" y="219310"/>
                </a:cubicBezTo>
                <a:lnTo>
                  <a:pt x="711687" y="7775"/>
                </a:lnTo>
                <a:lnTo>
                  <a:pt x="2759775" y="8701"/>
                </a:lnTo>
              </a:path>
            </a:pathLst>
          </a:custGeom>
          <a:noFill/>
          <a:ln w="50800">
            <a:solidFill>
              <a:schemeClr val="bg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21" name="Titelplatzhalter 3">
            <a:extLst>
              <a:ext uri="{FF2B5EF4-FFF2-40B4-BE49-F238E27FC236}">
                <a16:creationId xmlns:a16="http://schemas.microsoft.com/office/drawing/2014/main" id="{283B990E-99B2-3549-BB8C-DB592DF9C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5120" y="401945"/>
            <a:ext cx="8846773" cy="49244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Unsere Experten für Ihre Fragen</a:t>
            </a:r>
          </a:p>
        </p:txBody>
      </p:sp>
      <p:sp>
        <p:nvSpPr>
          <p:cNvPr id="22" name="Untertitel 2">
            <a:extLst>
              <a:ext uri="{FF2B5EF4-FFF2-40B4-BE49-F238E27FC236}">
                <a16:creationId xmlns:a16="http://schemas.microsoft.com/office/drawing/2014/main" id="{795241F5-0A3C-024B-A7CA-0A7A4C775F1F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04503" y="4474012"/>
            <a:ext cx="5183717" cy="114948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i="0" kern="1200">
                <a:solidFill>
                  <a:srgbClr val="DAE3E7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67" dirty="0">
                <a:solidFill>
                  <a:schemeClr val="accent4"/>
                </a:solidFill>
              </a:rPr>
              <a:t>Steuerberater/In</a:t>
            </a:r>
            <a:br>
              <a:rPr lang="de-DE" sz="1067" dirty="0">
                <a:solidFill>
                  <a:schemeClr val="accent4"/>
                </a:solidFill>
              </a:rPr>
            </a:br>
            <a:endParaRPr lang="de-DE" sz="1067" dirty="0">
              <a:solidFill>
                <a:schemeClr val="accent4"/>
              </a:solidFill>
            </a:endParaRPr>
          </a:p>
          <a:p>
            <a:r>
              <a:rPr lang="de-DE" sz="1067" dirty="0">
                <a:solidFill>
                  <a:schemeClr val="accent4"/>
                </a:solidFill>
              </a:rPr>
              <a:t>AWADO Deutsche Audit GmbH</a:t>
            </a:r>
            <a:br>
              <a:rPr lang="de-DE" sz="1067" dirty="0">
                <a:solidFill>
                  <a:schemeClr val="accent4"/>
                </a:solidFill>
              </a:rPr>
            </a:br>
            <a:r>
              <a:rPr lang="de-DE" sz="1067" dirty="0">
                <a:solidFill>
                  <a:schemeClr val="accent4"/>
                </a:solidFill>
              </a:rPr>
              <a:t>&lt;Jobbezeichnung&gt;</a:t>
            </a:r>
            <a:br>
              <a:rPr lang="de-DE" sz="1067" dirty="0">
                <a:solidFill>
                  <a:schemeClr val="accent4"/>
                </a:solidFill>
              </a:rPr>
            </a:br>
            <a:endParaRPr lang="de-DE" sz="1067" dirty="0">
              <a:solidFill>
                <a:schemeClr val="accent4"/>
              </a:solidFill>
            </a:endParaRPr>
          </a:p>
          <a:p>
            <a:r>
              <a:rPr lang="de-DE" sz="1067" dirty="0">
                <a:solidFill>
                  <a:schemeClr val="accent4"/>
                </a:solidFill>
              </a:rPr>
              <a:t>Telefon:	&lt;Telefonnummer&gt;</a:t>
            </a:r>
          </a:p>
          <a:p>
            <a:r>
              <a:rPr lang="de-DE" sz="1067" dirty="0">
                <a:solidFill>
                  <a:schemeClr val="accent4"/>
                </a:solidFill>
              </a:rPr>
              <a:t>E-Mail:	&lt;Name&gt;@awado-wpg.de</a:t>
            </a:r>
          </a:p>
        </p:txBody>
      </p:sp>
      <p:sp>
        <p:nvSpPr>
          <p:cNvPr id="23" name="Textplatzhalter 34">
            <a:extLst>
              <a:ext uri="{FF2B5EF4-FFF2-40B4-BE49-F238E27FC236}">
                <a16:creationId xmlns:a16="http://schemas.microsoft.com/office/drawing/2014/main" id="{E2AEB09E-1BFE-554E-B430-0FC03A7A4D1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951905" y="4490232"/>
            <a:ext cx="5199484" cy="105189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None/>
              <a:defRPr sz="800" i="0" kern="1200">
                <a:solidFill>
                  <a:srgbClr val="DAE3E7"/>
                </a:solidFill>
                <a:latin typeface="+mn-lt"/>
                <a:ea typeface="+mn-ea"/>
                <a:cs typeface="+mn-cs"/>
              </a:defRPr>
            </a:lvl1pPr>
            <a:lvl2pPr marL="162000" indent="-162000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00436E"/>
              </a:buClr>
              <a:buSzPct val="100000"/>
              <a:buFont typeface="Systemschrift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24000" indent="-162000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00436E"/>
              </a:buClr>
              <a:buSzPct val="100000"/>
              <a:buFont typeface="Systemschrift"/>
              <a:buChar char="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04813" indent="-134541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Char char="4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04813" indent="-134541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Char char="4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4813" indent="-134541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Char char="4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04813" indent="-134541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Char char="4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4813" indent="-134541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Char char="4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4813" indent="-134541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Char char="4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67" dirty="0">
                <a:solidFill>
                  <a:schemeClr val="accent4"/>
                </a:solidFill>
              </a:rPr>
              <a:t>Steuerberater/In</a:t>
            </a:r>
          </a:p>
          <a:p>
            <a:r>
              <a:rPr lang="de-DE" sz="1067" dirty="0">
                <a:solidFill>
                  <a:schemeClr val="accent4"/>
                </a:solidFill>
              </a:rPr>
              <a:t>AWADO Deutsche Audit GmbH</a:t>
            </a:r>
            <a:br>
              <a:rPr lang="de-DE" sz="1067" dirty="0">
                <a:solidFill>
                  <a:schemeClr val="accent4"/>
                </a:solidFill>
              </a:rPr>
            </a:br>
            <a:r>
              <a:rPr lang="de-DE" sz="1067" dirty="0">
                <a:solidFill>
                  <a:schemeClr val="accent4"/>
                </a:solidFill>
              </a:rPr>
              <a:t>&lt;Jobbezeichnung&gt;</a:t>
            </a:r>
          </a:p>
          <a:p>
            <a:r>
              <a:rPr lang="de-DE" sz="1067" dirty="0">
                <a:solidFill>
                  <a:schemeClr val="accent4"/>
                </a:solidFill>
              </a:rPr>
              <a:t>Telefon:	&lt;Telefonnummer&gt;</a:t>
            </a:r>
            <a:br>
              <a:rPr lang="de-DE" sz="1067" dirty="0">
                <a:solidFill>
                  <a:schemeClr val="accent4"/>
                </a:solidFill>
              </a:rPr>
            </a:br>
            <a:r>
              <a:rPr lang="de-DE" sz="1067" dirty="0">
                <a:solidFill>
                  <a:schemeClr val="accent4"/>
                </a:solidFill>
              </a:rPr>
              <a:t>E-Mail:	&lt;Name&gt;@awado-wpg.de</a:t>
            </a:r>
          </a:p>
        </p:txBody>
      </p:sp>
      <p:sp>
        <p:nvSpPr>
          <p:cNvPr id="24" name="Untertitel 2">
            <a:extLst>
              <a:ext uri="{FF2B5EF4-FFF2-40B4-BE49-F238E27FC236}">
                <a16:creationId xmlns:a16="http://schemas.microsoft.com/office/drawing/2014/main" id="{290A420E-1AB9-DD49-A289-8573D3BD62FF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88913" y="4089366"/>
            <a:ext cx="5199308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i="0" kern="1200">
                <a:solidFill>
                  <a:srgbClr val="DAE3E7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b="1" i="0" dirty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Vorname Name</a:t>
            </a:r>
          </a:p>
        </p:txBody>
      </p:sp>
      <p:sp>
        <p:nvSpPr>
          <p:cNvPr id="25" name="Untertitel 2">
            <a:extLst>
              <a:ext uri="{FF2B5EF4-FFF2-40B4-BE49-F238E27FC236}">
                <a16:creationId xmlns:a16="http://schemas.microsoft.com/office/drawing/2014/main" id="{1D0F9A73-EA99-2441-B3DB-03FCDCB4ACFF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951905" y="4100045"/>
            <a:ext cx="5199308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i="0" kern="1200">
                <a:solidFill>
                  <a:srgbClr val="DAE3E7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b="1" i="0" dirty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Vorname Name</a:t>
            </a:r>
          </a:p>
        </p:txBody>
      </p:sp>
      <p:pic>
        <p:nvPicPr>
          <p:cNvPr id="33" name="Grafik 32">
            <a:extLst>
              <a:ext uri="{FF2B5EF4-FFF2-40B4-BE49-F238E27FC236}">
                <a16:creationId xmlns:a16="http://schemas.microsoft.com/office/drawing/2014/main" id="{D4B468EE-3767-EA49-A902-B9CF52FA75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392970" y="1584903"/>
            <a:ext cx="2409365" cy="2250736"/>
          </a:xfrm>
          <a:prstGeom prst="round1Rect">
            <a:avLst/>
          </a:prstGeom>
          <a:ln>
            <a:noFill/>
          </a:ln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FCF3643A-7A92-1143-8B19-AB038BEFD2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5970035" y="1584903"/>
            <a:ext cx="2409365" cy="2250736"/>
          </a:xfrm>
          <a:prstGeom prst="round1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954180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sprechpartner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DFB70F9-13F2-4573-BFAD-DE8F97292E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5" name="think-cell Folie" r:id="rId6" imgW="306" imgH="306" progId="TCLayout.ActiveDocument.1">
                  <p:embed/>
                </p:oleObj>
              </mc:Choice>
              <mc:Fallback>
                <p:oleObj name="think-cell Folie" r:id="rId6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DFB70F9-13F2-4573-BFAD-DE8F97292E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3C3027E4-BE2A-4932-A5BD-D426580C796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733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7DDCC7FD-2F52-5747-A669-BDB18A6F53E6}"/>
              </a:ext>
            </a:extLst>
          </p:cNvPr>
          <p:cNvSpPr/>
          <p:nvPr userDrawn="1"/>
        </p:nvSpPr>
        <p:spPr bwMode="gray">
          <a:xfrm>
            <a:off x="-264" y="0"/>
            <a:ext cx="12192000" cy="6858000"/>
          </a:xfrm>
          <a:prstGeom prst="rect">
            <a:avLst/>
          </a:prstGeom>
          <a:solidFill>
            <a:schemeClr val="accent1">
              <a:alpha val="91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4" name="Untertitel 2">
            <a:extLst>
              <a:ext uri="{FF2B5EF4-FFF2-40B4-BE49-F238E27FC236}">
                <a16:creationId xmlns:a16="http://schemas.microsoft.com/office/drawing/2014/main" id="{D105C3B1-FE5E-F04B-B019-D025F847B1A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6096000" y="5253203"/>
            <a:ext cx="5720685" cy="768084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>
                <a:solidFill>
                  <a:schemeClr val="accent4"/>
                </a:solidFill>
              </a:defRPr>
            </a:lvl1pPr>
            <a:lvl2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2pPr>
            <a:lvl3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3pPr>
            <a:lvl4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4pPr>
            <a:lvl5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5pPr>
            <a:lvl6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6pPr>
            <a:lvl7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7pPr>
            <a:lvl8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8pPr>
            <a:lvl9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9pPr>
          </a:lstStyle>
          <a:p>
            <a:pPr lvl="0"/>
            <a:r>
              <a:rPr lang="de-DE" dirty="0"/>
              <a:t>Alles über die neue AWADO: </a:t>
            </a:r>
            <a:r>
              <a:rPr lang="de-DE" dirty="0" err="1"/>
              <a:t>awado-wpg.de</a:t>
            </a:r>
            <a:endParaRPr lang="de-DE" dirty="0"/>
          </a:p>
        </p:txBody>
      </p:sp>
      <p:sp>
        <p:nvSpPr>
          <p:cNvPr id="10" name="Titelplatzhalter 3">
            <a:extLst>
              <a:ext uri="{FF2B5EF4-FFF2-40B4-BE49-F238E27FC236}">
                <a16:creationId xmlns:a16="http://schemas.microsoft.com/office/drawing/2014/main" id="{BEFD752F-261A-8743-B96B-7EF5AFB6F8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096000" y="3365626"/>
            <a:ext cx="5720685" cy="17235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733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Vielen Dank</a:t>
            </a:r>
            <a:br>
              <a:rPr lang="de-DE" dirty="0"/>
            </a:br>
            <a:r>
              <a:rPr lang="de-DE" dirty="0"/>
              <a:t>für Ihre Aufmerksamkeit.</a:t>
            </a:r>
          </a:p>
        </p:txBody>
      </p:sp>
      <p:pic>
        <p:nvPicPr>
          <p:cNvPr id="11" name="Obraz 10">
            <a:extLst>
              <a:ext uri="{FF2B5EF4-FFF2-40B4-BE49-F238E27FC236}">
                <a16:creationId xmlns:a16="http://schemas.microsoft.com/office/drawing/2014/main" id="{4CD1D240-FDD4-410D-9447-AF15C2AF17C9}"/>
              </a:ext>
            </a:extLst>
          </p:cNvPr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  <a:biLevel thresh="25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79000" contrast="-3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748284" y="191477"/>
            <a:ext cx="1008112" cy="629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117766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nsprechpartner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46A210C-8AC7-4555-B256-307E3E248C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29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46A210C-8AC7-4555-B256-307E3E248C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5C88FB9F-7ED9-4BD5-B204-7998742BD5D6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7DDCC7FD-2F52-5747-A669-BDB18A6F53E6}"/>
              </a:ext>
            </a:extLst>
          </p:cNvPr>
          <p:cNvSpPr/>
          <p:nvPr userDrawn="1"/>
        </p:nvSpPr>
        <p:spPr bwMode="gray">
          <a:xfrm>
            <a:off x="-397" y="0"/>
            <a:ext cx="12192000" cy="6858000"/>
          </a:xfrm>
          <a:prstGeom prst="rect">
            <a:avLst/>
          </a:prstGeom>
          <a:solidFill>
            <a:srgbClr val="00436E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Grafik 4">
            <a:extLst>
              <a:ext uri="{FF2B5EF4-FFF2-40B4-BE49-F238E27FC236}">
                <a16:creationId xmlns:a16="http://schemas.microsoft.com/office/drawing/2014/main" id="{EE759E8E-F797-F043-AACD-C955F451A781}"/>
              </a:ext>
            </a:extLst>
          </p:cNvPr>
          <p:cNvSpPr/>
          <p:nvPr/>
        </p:nvSpPr>
        <p:spPr bwMode="gray">
          <a:xfrm>
            <a:off x="7175087" y="-2159"/>
            <a:ext cx="5016516" cy="6862321"/>
          </a:xfrm>
          <a:custGeom>
            <a:avLst/>
            <a:gdLst>
              <a:gd name="connsiteX0" fmla="*/ 0 w 3762387"/>
              <a:gd name="connsiteY0" fmla="*/ 0 h 5138737"/>
              <a:gd name="connsiteX1" fmla="*/ 3211758 w 3762387"/>
              <a:gd name="connsiteY1" fmla="*/ 5138738 h 5138737"/>
              <a:gd name="connsiteX2" fmla="*/ 3762917 w 3762387"/>
              <a:gd name="connsiteY2" fmla="*/ 5138738 h 5138737"/>
              <a:gd name="connsiteX3" fmla="*/ 3762917 w 3762387"/>
              <a:gd name="connsiteY3" fmla="*/ 0 h 5138737"/>
              <a:gd name="connsiteX4" fmla="*/ 0 w 3762387"/>
              <a:gd name="connsiteY4" fmla="*/ 0 h 5138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62387" h="5138737">
                <a:moveTo>
                  <a:pt x="0" y="0"/>
                </a:moveTo>
                <a:cubicBezTo>
                  <a:pt x="579633" y="3426123"/>
                  <a:pt x="1650401" y="5138738"/>
                  <a:pt x="3211758" y="5138738"/>
                </a:cubicBezTo>
                <a:cubicBezTo>
                  <a:pt x="3449798" y="5138738"/>
                  <a:pt x="3450398" y="5138738"/>
                  <a:pt x="3762917" y="5138738"/>
                </a:cubicBezTo>
                <a:lnTo>
                  <a:pt x="3762917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-1714500" ty="190500" sx="27000" sy="27000" flip="xy" algn="ctr"/>
          </a:blipFill>
          <a:ln w="4756" cap="flat">
            <a:noFill/>
            <a:prstDash val="solid"/>
            <a:miter/>
          </a:ln>
        </p:spPr>
        <p:txBody>
          <a:bodyPr rtlCol="0" anchor="ctr"/>
          <a:lstStyle/>
          <a:p>
            <a:endParaRPr lang="de-DE" sz="2400" dirty="0"/>
          </a:p>
        </p:txBody>
      </p:sp>
      <p:sp>
        <p:nvSpPr>
          <p:cNvPr id="14" name="Titelplatzhalter 3">
            <a:extLst>
              <a:ext uri="{FF2B5EF4-FFF2-40B4-BE49-F238E27FC236}">
                <a16:creationId xmlns:a16="http://schemas.microsoft.com/office/drawing/2014/main" id="{1F8DCC92-EF42-A641-86FE-7F87D70DE0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-397" y="3914747"/>
            <a:ext cx="8016887" cy="88105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Vielen Dank für Ihre Aufmerksamkeit.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683F1AC2-9921-504A-BFC0-6B86A94DA38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428849" y="1280417"/>
            <a:ext cx="3158392" cy="1752203"/>
          </a:xfrm>
          <a:prstGeom prst="rect">
            <a:avLst/>
          </a:prstGeom>
        </p:spPr>
      </p:pic>
      <p:sp>
        <p:nvSpPr>
          <p:cNvPr id="15" name="Untertitel 2">
            <a:extLst>
              <a:ext uri="{FF2B5EF4-FFF2-40B4-BE49-F238E27FC236}">
                <a16:creationId xmlns:a16="http://schemas.microsoft.com/office/drawing/2014/main" id="{9E98D474-B654-7343-AC11-CA2F09349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-397" y="5121596"/>
            <a:ext cx="8016345" cy="38533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>
                <a:solidFill>
                  <a:schemeClr val="accent4"/>
                </a:solidFill>
              </a:defRPr>
            </a:lvl1pPr>
            <a:lvl2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2pPr>
            <a:lvl3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3pPr>
            <a:lvl4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4pPr>
            <a:lvl5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5pPr>
            <a:lvl6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6pPr>
            <a:lvl7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7pPr>
            <a:lvl8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8pPr>
            <a:lvl9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9pPr>
          </a:lstStyle>
          <a:p>
            <a:pPr lvl="0"/>
            <a:r>
              <a:rPr lang="de-DE" dirty="0"/>
              <a:t>Alles über die neue AWADO finden Sie online unter » </a:t>
            </a:r>
            <a:r>
              <a:rPr lang="de-DE" dirty="0" err="1"/>
              <a:t>awado-wpg.d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9535119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7DD43D3B-5A2E-4859-A92E-DE19BF76A2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90078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1D92CE7-34DA-4817-8120-4613E6C88E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12BD2F4-2F50-43B9-8741-98B24B34E8A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179799E-CD93-4A30-BB6C-9A514C7E69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A71AB13-06CC-43D5-9A67-EB11717E21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B2589F-8B57-429D-A334-2673DF72BE63}" type="datetime1">
              <a:rPr lang="de-DE" smtClean="0"/>
              <a:t>25.09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92C1758-7E63-4257-A54D-4B7AFF9600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Umfrage vom 20.7.2023 bis 11.08.2023; Teilnahmequote: 75 Prozent der Mitgliedsbanken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D770C73-AE21-476C-9C89-6619E9FB1D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0676B-BFEB-47E1-A313-420DA8D05D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4124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23F5C53-9C93-4B99-9CAB-A0F318EA5C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90E87E4-A4EA-4095-9FF2-965BEBA568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776BA8C-EF35-47FE-B6D1-8E01C4AFE2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0F99118-ECAE-48C1-8108-9EBFFB6CCBF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F10D61AB-A05D-44AE-9D21-F9174B1A5A8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46EF1F34-E9AF-44F2-A682-D5CBF0BC2F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A98119-25F3-4DC1-B415-2F72660AD585}" type="datetime1">
              <a:rPr lang="de-DE" smtClean="0"/>
              <a:t>25.09.2023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CF4687A-0FF4-4809-AB73-5953A3C76B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Umfrage vom 20.7.2023 bis 11.08.2023; Teilnahmequote: 75 Prozent der Mitgliedsbanken</a:t>
            </a:r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1EDE6EA8-E5CA-4D68-8A7E-E7207C2367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0676B-BFEB-47E1-A313-420DA8D05D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605686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58F7C0C-D558-4B7C-9482-31429854D7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A998E10-8510-4874-B7C1-C3EF2FAA23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4734CD-9CD4-4AEA-A964-91F0697052BA}" type="datetime1">
              <a:rPr lang="de-DE" smtClean="0"/>
              <a:t>25.09.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41D3284-E799-4FE0-B98B-861B2BD9A3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Umfrage vom 20.7.2023 bis 11.08.2023; Teilnahmequote: 75 Prozent der Mitgliedsbanken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E53EEF9-615F-4E72-9EF2-C514392A2F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0676B-BFEB-47E1-A313-420DA8D05D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50269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CF8AEF6-8DFC-4B25-A0EF-4B4BBC1C61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8781AB-BCC3-4107-AE15-09F964AA4787}" type="datetime1">
              <a:rPr lang="de-DE" smtClean="0"/>
              <a:t>25.09.2023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A3629E4-9636-4793-BBB7-1ABD945BE3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Umfrage vom 20.7.2023 bis 11.08.2023; Teilnahmequote: 75 Prozent der Mitgliedsbanken</a:t>
            </a:r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E16FEAF-6CF7-4A97-A009-605011D4B9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0676B-BFEB-47E1-A313-420DA8D05D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969594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4162C6A-115E-40EC-B6E3-4D9F9693BC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0D897E8-3211-4181-90D8-5D411DD2ED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464DC1A-38A5-4C70-89DA-DBB566EB225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B12AFD4-0E42-49BA-BE96-37FC9C50A4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094C58-AC7B-4C02-B297-758C0E4379A6}" type="datetime1">
              <a:rPr lang="de-DE" smtClean="0"/>
              <a:t>25.09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F505558-79A6-402C-9444-A6AE3416A6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Umfrage vom 20.7.2023 bis 11.08.2023; Teilnahmequote: 75 Prozent der Mitgliedsbanken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9E9D33A-E42C-4BEF-B088-6BF781AA7D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0676B-BFEB-47E1-A313-420DA8D05D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576397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AD300A-4067-474F-9031-3A127A0D60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837B8DC3-B374-4BB8-9F7D-A70E92B0E58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0FFF858-9493-4776-8CA4-E91449D00D3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6D0DFD5-E8E3-4D83-B0AE-2E2BE246FF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2E2ADA-EA14-45EF-944A-606AF3D4F814}" type="datetime1">
              <a:rPr lang="de-DE" smtClean="0"/>
              <a:t>25.09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653161A-2D50-44B4-925C-28D3058A88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Umfrage vom 20.7.2023 bis 11.08.2023; Teilnahmequote: 75 Prozent der Mitgliedsbanken</a:t>
            </a:r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93DF274-FC2F-4B28-8A49-B66ACB151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0676B-BFEB-47E1-A313-420DA8D05D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92411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image" Target="../media/image2.jpe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theme" Target="../theme/theme2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A4A3E712-1F2A-487B-9D6F-BF35FF81FA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8039335-9161-4E41-8640-A1C98F5B67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0C8D2F3-474D-40EE-A44D-FEE3686DB50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69671C-E593-49B4-941E-BAC1C929F32A}" type="datetime1">
              <a:rPr lang="de-DE" smtClean="0"/>
              <a:t>25.09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8E84D4A-7A89-4D14-BBCF-CB8947A57D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Umfrage vom 20.7.2023 bis 11.08.2023; Teilnahmequote: 75 Prozent der Mitgliedsbanken</a:t>
            </a:r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240832F-A70D-4C98-B391-1A28BD56F6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90676B-BFEB-47E1-A313-420DA8D05D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362948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E4857B7-61B7-4729-8DD1-C767A50464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" name="think-cell Folie" r:id="rId27" imgW="415" imgH="416" progId="TCLayout.ActiveDocument.1">
                  <p:embed/>
                </p:oleObj>
              </mc:Choice>
              <mc:Fallback>
                <p:oleObj name="think-cell Folie" r:id="rId27" imgW="415" imgH="41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E4857B7-61B7-4729-8DD1-C767A50464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E0431666-37B8-4A3A-B378-B799EF7CDA99}"/>
              </a:ext>
            </a:extLst>
          </p:cNvPr>
          <p:cNvSpPr/>
          <p:nvPr userDrawn="1">
            <p:custDataLst>
              <p:tags r:id="rId26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grpSp>
        <p:nvGrpSpPr>
          <p:cNvPr id="9" name="GridLines" hidden="1"/>
          <p:cNvGrpSpPr/>
          <p:nvPr/>
        </p:nvGrpSpPr>
        <p:grpSpPr bwMode="gray">
          <a:xfrm>
            <a:off x="431371" y="1773238"/>
            <a:ext cx="11425269" cy="4518079"/>
            <a:chOff x="323528" y="1773238"/>
            <a:chExt cx="8568952" cy="4518078"/>
          </a:xfrm>
        </p:grpSpPr>
        <p:sp>
          <p:nvSpPr>
            <p:cNvPr id="11" name="Rechteck 10" hidden="1"/>
            <p:cNvSpPr/>
            <p:nvPr userDrawn="1"/>
          </p:nvSpPr>
          <p:spPr bwMode="gray">
            <a:xfrm>
              <a:off x="539750" y="2060575"/>
              <a:ext cx="8064500" cy="4105275"/>
            </a:xfrm>
            <a:prstGeom prst="rect">
              <a:avLst/>
            </a:prstGeom>
            <a:solidFill>
              <a:srgbClr val="DAE3E7"/>
            </a:solidFill>
            <a:ln>
              <a:noFill/>
              <a:headEnd/>
              <a:tailEnd/>
            </a:ln>
            <a:effectLst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wrap="square" bIns="288000" rtlCol="0" anchor="b">
              <a:noAutofit/>
            </a:bodyPr>
            <a:lstStyle/>
            <a:p>
              <a:pPr algn="r">
                <a:spcBef>
                  <a:spcPct val="0"/>
                </a:spcBef>
              </a:pPr>
              <a:r>
                <a:rPr lang="de-DE" sz="1200" b="1" dirty="0">
                  <a:solidFill>
                    <a:srgbClr val="547483"/>
                  </a:solidFill>
                  <a:latin typeface="+mn-lt"/>
                </a:rPr>
                <a:t>Maximaler Gestaltungsbereich</a:t>
              </a:r>
            </a:p>
          </p:txBody>
        </p:sp>
        <p:cxnSp>
          <p:nvCxnSpPr>
            <p:cNvPr id="12" name="Gerade Verbindung 11" hidden="1"/>
            <p:cNvCxnSpPr/>
            <p:nvPr userDrawn="1"/>
          </p:nvCxnSpPr>
          <p:spPr bwMode="gray">
            <a:xfrm>
              <a:off x="539552" y="1773238"/>
              <a:ext cx="0" cy="4500078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547483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Gerade Verbindung 12" hidden="1"/>
            <p:cNvCxnSpPr/>
            <p:nvPr userDrawn="1"/>
          </p:nvCxnSpPr>
          <p:spPr bwMode="gray">
            <a:xfrm>
              <a:off x="3059832" y="1773238"/>
              <a:ext cx="0" cy="4500078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547483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Gerade Verbindung 13" hidden="1"/>
            <p:cNvCxnSpPr/>
            <p:nvPr userDrawn="1"/>
          </p:nvCxnSpPr>
          <p:spPr bwMode="gray">
            <a:xfrm>
              <a:off x="3347864" y="1773238"/>
              <a:ext cx="0" cy="4500078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547483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Gerade Verbindung 14" hidden="1"/>
            <p:cNvCxnSpPr/>
            <p:nvPr userDrawn="1"/>
          </p:nvCxnSpPr>
          <p:spPr bwMode="gray">
            <a:xfrm>
              <a:off x="4427984" y="1773238"/>
              <a:ext cx="0" cy="4500078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547483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Gerade Verbindung 15" hidden="1"/>
            <p:cNvCxnSpPr/>
            <p:nvPr userDrawn="1"/>
          </p:nvCxnSpPr>
          <p:spPr bwMode="gray">
            <a:xfrm>
              <a:off x="4716016" y="1773238"/>
              <a:ext cx="0" cy="4500078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547483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Gerade Verbindung 16" hidden="1"/>
            <p:cNvCxnSpPr/>
            <p:nvPr userDrawn="1"/>
          </p:nvCxnSpPr>
          <p:spPr bwMode="gray">
            <a:xfrm>
              <a:off x="5795963" y="1773238"/>
              <a:ext cx="0" cy="4500078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547483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Gerade Verbindung 17" hidden="1"/>
            <p:cNvCxnSpPr/>
            <p:nvPr userDrawn="1"/>
          </p:nvCxnSpPr>
          <p:spPr bwMode="gray">
            <a:xfrm>
              <a:off x="6084168" y="1773238"/>
              <a:ext cx="0" cy="4500078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547483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Gerade Verbindung 18" hidden="1"/>
            <p:cNvCxnSpPr/>
            <p:nvPr userDrawn="1"/>
          </p:nvCxnSpPr>
          <p:spPr bwMode="gray">
            <a:xfrm>
              <a:off x="8604448" y="1773238"/>
              <a:ext cx="0" cy="4518078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547483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Gerade Verbindung 19" hidden="1"/>
            <p:cNvCxnSpPr/>
            <p:nvPr userDrawn="1"/>
          </p:nvCxnSpPr>
          <p:spPr bwMode="gray">
            <a:xfrm flipH="1">
              <a:off x="323528" y="6165304"/>
              <a:ext cx="8568952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547483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1" name="Gerade Verbindung 20" hidden="1"/>
            <p:cNvCxnSpPr/>
            <p:nvPr userDrawn="1"/>
          </p:nvCxnSpPr>
          <p:spPr bwMode="gray">
            <a:xfrm flipH="1">
              <a:off x="323528" y="5949280"/>
              <a:ext cx="8568952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547483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Gerade Verbindung 21" hidden="1"/>
            <p:cNvCxnSpPr/>
            <p:nvPr userDrawn="1"/>
          </p:nvCxnSpPr>
          <p:spPr bwMode="gray">
            <a:xfrm flipH="1">
              <a:off x="323528" y="2060848"/>
              <a:ext cx="8568952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547483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3" name="Textplatzhalter 9" hidden="1"/>
            <p:cNvSpPr txBox="1">
              <a:spLocks/>
            </p:cNvSpPr>
            <p:nvPr userDrawn="1"/>
          </p:nvSpPr>
          <p:spPr bwMode="gray">
            <a:xfrm>
              <a:off x="539750" y="5949950"/>
              <a:ext cx="8064500" cy="215900"/>
            </a:xfrm>
            <a:prstGeom prst="rect">
              <a:avLst/>
            </a:prstGeom>
          </p:spPr>
          <p:txBody>
            <a:bodyPr lIns="0" tIns="0" rIns="0" bIns="0" anchor="b"/>
            <a:lstStyle>
              <a:lvl1pPr marL="0" indent="0" algn="l" defTabSz="914400" rtl="0" eaLnBrk="1" latinLnBrk="0" hangingPunct="1">
                <a:spcBef>
                  <a:spcPts val="0"/>
                </a:spcBef>
                <a:buFont typeface="Arial" panose="020B0604020202020204" pitchFamily="34" charset="0"/>
                <a:buNone/>
                <a:defRPr sz="900" kern="1200" baseline="0">
                  <a:solidFill>
                    <a:srgbClr val="547483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0"/>
                </a:spcBef>
                <a:buClr>
                  <a:srgbClr val="00436E"/>
                </a:buClr>
                <a:buSzPct val="90000"/>
                <a:buFont typeface="Wingdings" panose="05000000000000000000" pitchFamily="2" charset="2"/>
                <a:buNone/>
                <a:defRPr sz="1000" kern="1200">
                  <a:solidFill>
                    <a:srgbClr val="547483"/>
                  </a:solidFill>
                  <a:latin typeface="+mn-lt"/>
                  <a:ea typeface="+mn-ea"/>
                  <a:cs typeface="+mn-cs"/>
                </a:defRPr>
              </a:lvl2pPr>
              <a:lvl3pPr marL="0" indent="0" algn="l" defTabSz="914400" rtl="0" eaLnBrk="1" latinLnBrk="0" hangingPunct="1">
                <a:spcBef>
                  <a:spcPts val="0"/>
                </a:spcBef>
                <a:buClr>
                  <a:srgbClr val="00436E"/>
                </a:buClr>
                <a:buSzPct val="75000"/>
                <a:buFont typeface="Wingdings" panose="05000000000000000000" pitchFamily="2" charset="2"/>
                <a:buNone/>
                <a:defRPr sz="1000" kern="1200">
                  <a:solidFill>
                    <a:srgbClr val="547483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spcBef>
                  <a:spcPts val="0"/>
                </a:spcBef>
                <a:buClr>
                  <a:srgbClr val="547483"/>
                </a:buClr>
                <a:buSzPct val="100000"/>
                <a:buFont typeface="Webdings" panose="05030102010509060703" pitchFamily="18" charset="2"/>
                <a:buNone/>
                <a:defRPr sz="1000" kern="1200">
                  <a:solidFill>
                    <a:srgbClr val="547483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914400" rtl="0" eaLnBrk="1" latinLnBrk="0" hangingPunct="1">
                <a:spcBef>
                  <a:spcPts val="0"/>
                </a:spcBef>
                <a:buClr>
                  <a:srgbClr val="547483"/>
                </a:buClr>
                <a:buSzPct val="100000"/>
                <a:buFont typeface="Webdings" panose="05030102010509060703" pitchFamily="18" charset="2"/>
                <a:buNone/>
                <a:defRPr sz="1000" kern="1200">
                  <a:solidFill>
                    <a:srgbClr val="547483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spcBef>
                  <a:spcPts val="0"/>
                </a:spcBef>
                <a:buClr>
                  <a:srgbClr val="547483"/>
                </a:buClr>
                <a:buSzPct val="100000"/>
                <a:buFont typeface="Webdings" panose="05030102010509060703" pitchFamily="18" charset="2"/>
                <a:buNone/>
                <a:defRPr sz="1000" kern="1200">
                  <a:solidFill>
                    <a:srgbClr val="547483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spcBef>
                  <a:spcPts val="0"/>
                </a:spcBef>
                <a:buClr>
                  <a:srgbClr val="547483"/>
                </a:buClr>
                <a:buSzPct val="100000"/>
                <a:buFont typeface="Webdings" panose="05030102010509060703" pitchFamily="18" charset="2"/>
                <a:buNone/>
                <a:defRPr sz="1000" kern="1200">
                  <a:solidFill>
                    <a:srgbClr val="547483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spcBef>
                  <a:spcPts val="0"/>
                </a:spcBef>
                <a:buClr>
                  <a:srgbClr val="547483"/>
                </a:buClr>
                <a:buSzPct val="100000"/>
                <a:buFont typeface="Webdings" panose="05030102010509060703" pitchFamily="18" charset="2"/>
                <a:buNone/>
                <a:defRPr sz="1000" kern="1200">
                  <a:solidFill>
                    <a:srgbClr val="547483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0"/>
                </a:spcBef>
                <a:buClr>
                  <a:srgbClr val="547483"/>
                </a:buClr>
                <a:buSzPct val="100000"/>
                <a:buFont typeface="Webdings" panose="05030102010509060703" pitchFamily="18" charset="2"/>
                <a:buNone/>
                <a:defRPr sz="1000" kern="1200">
                  <a:solidFill>
                    <a:srgbClr val="547483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900" dirty="0"/>
                <a:t>Quellenangabe optional (9 pt, Schiefergrau)</a:t>
              </a:r>
            </a:p>
          </p:txBody>
        </p:sp>
      </p:grp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5003" y="6519202"/>
            <a:ext cx="781877" cy="13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900">
                <a:solidFill>
                  <a:srgbClr val="00436E"/>
                </a:solidFill>
              </a:defRPr>
            </a:lvl1pPr>
          </a:lstStyle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75120" y="1597863"/>
            <a:ext cx="5376000" cy="461767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6</a:t>
            </a:r>
          </a:p>
          <a:p>
            <a:pPr lvl="6"/>
            <a:r>
              <a:rPr lang="de-DE" dirty="0"/>
              <a:t>7</a:t>
            </a:r>
          </a:p>
          <a:p>
            <a:pPr lvl="7"/>
            <a:r>
              <a:rPr lang="de-DE" dirty="0"/>
              <a:t>8</a:t>
            </a:r>
          </a:p>
          <a:p>
            <a:pPr lvl="8"/>
            <a:r>
              <a:rPr lang="de-DE" dirty="0"/>
              <a:t>9</a:t>
            </a:r>
          </a:p>
        </p:txBody>
      </p:sp>
      <p:sp>
        <p:nvSpPr>
          <p:cNvPr id="4" name="Titelplatzhalter 3">
            <a:extLst>
              <a:ext uri="{FF2B5EF4-FFF2-40B4-BE49-F238E27FC236}">
                <a16:creationId xmlns:a16="http://schemas.microsoft.com/office/drawing/2014/main" id="{9647B94F-7B2F-4A4C-8B58-78F3D417981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5120" y="401946"/>
            <a:ext cx="8846773" cy="818809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38294569-7DD6-0242-A4A6-44A1BDE58112}"/>
              </a:ext>
            </a:extLst>
          </p:cNvPr>
          <p:cNvSpPr/>
          <p:nvPr userDrawn="1"/>
        </p:nvSpPr>
        <p:spPr bwMode="gray">
          <a:xfrm>
            <a:off x="0" y="6310360"/>
            <a:ext cx="12192000" cy="19200"/>
          </a:xfrm>
          <a:prstGeom prst="rect">
            <a:avLst/>
          </a:prstGeom>
          <a:solidFill>
            <a:srgbClr val="DAE3E7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25" name="Picture 51" descr="awado.de">
            <a:extLst>
              <a:ext uri="{FF2B5EF4-FFF2-40B4-BE49-F238E27FC236}">
                <a16:creationId xmlns:a16="http://schemas.microsoft.com/office/drawing/2014/main" id="{0DB78D45-7556-4D92-A35E-E7A54BE08442}"/>
              </a:ext>
            </a:extLst>
          </p:cNvPr>
          <p:cNvPicPr preferRelativeResize="0">
            <a:picLocks noChangeAspect="1" noChangeArrowheads="1"/>
          </p:cNvPicPr>
          <p:nvPr userDrawn="1"/>
        </p:nvPicPr>
        <p:blipFill rotWithShape="1">
          <a:blip r:embed="rId2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06" t="9373" r="17779" b="13375"/>
          <a:stretch/>
        </p:blipFill>
        <p:spPr bwMode="gray">
          <a:xfrm>
            <a:off x="375120" y="6459980"/>
            <a:ext cx="485387" cy="2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6227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</p:sldLayoutIdLst>
  <p:hf sldNum="0" hdr="0" dt="0"/>
  <p:txStyles>
    <p:titleStyle>
      <a:lvl1pPr algn="l" defTabSz="914377" rtl="0" eaLnBrk="1" latinLnBrk="0" hangingPunct="1">
        <a:spcBef>
          <a:spcPct val="0"/>
        </a:spcBef>
        <a:buNone/>
        <a:defRPr sz="3200" b="1" i="0" kern="1200">
          <a:solidFill>
            <a:srgbClr val="00436E"/>
          </a:solidFill>
          <a:latin typeface="Arial Black" panose="020B0604020202020204" pitchFamily="34" charset="0"/>
          <a:ea typeface="+mj-ea"/>
          <a:cs typeface="Arial Black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None/>
        <a:defRPr sz="160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215995" indent="-215995" algn="l" defTabSz="914377" rtl="0" eaLnBrk="1" latinLnBrk="0" hangingPunct="1">
        <a:lnSpc>
          <a:spcPct val="150000"/>
        </a:lnSpc>
        <a:spcBef>
          <a:spcPts val="600"/>
        </a:spcBef>
        <a:buClr>
          <a:srgbClr val="00436E"/>
        </a:buClr>
        <a:buSzPct val="100000"/>
        <a:buFont typeface="Systemschrift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31989" indent="-215995" algn="l" defTabSz="914377" rtl="0" eaLnBrk="1" latinLnBrk="0" hangingPunct="1">
        <a:lnSpc>
          <a:spcPct val="150000"/>
        </a:lnSpc>
        <a:spcBef>
          <a:spcPts val="600"/>
        </a:spcBef>
        <a:buClr>
          <a:srgbClr val="00436E"/>
        </a:buClr>
        <a:buSzPct val="100000"/>
        <a:buFont typeface="Systemschrift"/>
        <a:buChar char="⚬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37" indent="-179384" algn="l" defTabSz="914377" rtl="0" eaLnBrk="1" latinLnBrk="0" hangingPunct="1">
        <a:lnSpc>
          <a:spcPct val="150000"/>
        </a:lnSpc>
        <a:spcBef>
          <a:spcPts val="600"/>
        </a:spcBef>
        <a:buClr>
          <a:schemeClr val="accent3"/>
        </a:buClr>
        <a:buSzPct val="100000"/>
        <a:buFont typeface="Webdings" panose="05030102010509060703" pitchFamily="18" charset="2"/>
        <a:buChar char="4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39737" indent="-179384" algn="l" defTabSz="914377" rtl="0" eaLnBrk="1" latinLnBrk="0" hangingPunct="1">
        <a:lnSpc>
          <a:spcPct val="150000"/>
        </a:lnSpc>
        <a:spcBef>
          <a:spcPts val="600"/>
        </a:spcBef>
        <a:buClr>
          <a:schemeClr val="accent3"/>
        </a:buClr>
        <a:buSzPct val="100000"/>
        <a:buFont typeface="Webdings" panose="05030102010509060703" pitchFamily="18" charset="2"/>
        <a:buChar char="4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539737" indent="-179384" algn="l" defTabSz="914377" rtl="0" eaLnBrk="1" latinLnBrk="0" hangingPunct="1">
        <a:lnSpc>
          <a:spcPct val="150000"/>
        </a:lnSpc>
        <a:spcBef>
          <a:spcPts val="600"/>
        </a:spcBef>
        <a:buClr>
          <a:schemeClr val="accent3"/>
        </a:buClr>
        <a:buSzPct val="100000"/>
        <a:buFont typeface="Webdings" panose="05030102010509060703" pitchFamily="18" charset="2"/>
        <a:buChar char="4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539737" indent="-179384" algn="l" defTabSz="914377" rtl="0" eaLnBrk="1" latinLnBrk="0" hangingPunct="1">
        <a:lnSpc>
          <a:spcPct val="150000"/>
        </a:lnSpc>
        <a:spcBef>
          <a:spcPts val="600"/>
        </a:spcBef>
        <a:buClr>
          <a:schemeClr val="accent3"/>
        </a:buClr>
        <a:buSzPct val="100000"/>
        <a:buFont typeface="Webdings" panose="05030102010509060703" pitchFamily="18" charset="2"/>
        <a:buChar char="4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539737" indent="-179384" algn="l" defTabSz="914377" rtl="0" eaLnBrk="1" latinLnBrk="0" hangingPunct="1">
        <a:lnSpc>
          <a:spcPct val="150000"/>
        </a:lnSpc>
        <a:spcBef>
          <a:spcPts val="600"/>
        </a:spcBef>
        <a:buClr>
          <a:schemeClr val="accent3"/>
        </a:buClr>
        <a:buSzPct val="100000"/>
        <a:buFont typeface="Webdings" panose="05030102010509060703" pitchFamily="18" charset="2"/>
        <a:buChar char="4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539737" indent="-179384" algn="l" defTabSz="914377" rtl="0" eaLnBrk="1" latinLnBrk="0" hangingPunct="1">
        <a:lnSpc>
          <a:spcPct val="150000"/>
        </a:lnSpc>
        <a:spcBef>
          <a:spcPts val="600"/>
        </a:spcBef>
        <a:buClr>
          <a:schemeClr val="accent3"/>
        </a:buClr>
        <a:buSzPct val="100000"/>
        <a:buFont typeface="Webdings" panose="05030102010509060703" pitchFamily="18" charset="2"/>
        <a:buChar char="4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chart" Target="../charts/chart2.xm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1.xml"/><Relationship Id="rId5" Type="http://schemas.openxmlformats.org/officeDocument/2006/relationships/image" Target="NUL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Grafik 18" descr="Ein Bild, das Text enthält.&#10;&#10;Automatisch generierte Beschreibung">
            <a:extLst>
              <a:ext uri="{FF2B5EF4-FFF2-40B4-BE49-F238E27FC236}">
                <a16:creationId xmlns:a16="http://schemas.microsoft.com/office/drawing/2014/main" id="{D9AA94D8-6795-42A9-B5D9-1D100B890A2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566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31D3EF12-FB90-456B-A945-B1E9FF696961}"/>
              </a:ext>
            </a:extLst>
          </p:cNvPr>
          <p:cNvSpPr txBox="1"/>
          <p:nvPr/>
        </p:nvSpPr>
        <p:spPr>
          <a:xfrm>
            <a:off x="792678" y="2413186"/>
            <a:ext cx="5004324" cy="6309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100"/>
              </a:lnSpc>
            </a:pPr>
            <a:r>
              <a:rPr lang="de-DE" sz="15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Frage: </a:t>
            </a:r>
            <a:r>
              <a:rPr lang="de-DE" sz="1500" dirty="0">
                <a:solidFill>
                  <a:srgbClr val="000000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Wie schätzen Sie die Entwicklung des Firmenkunden-Kreditgeschäfts für dieses Jahr ein? 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5EAEA9C-FDAB-4A18-92A9-0F01BAAD0214}"/>
              </a:ext>
            </a:extLst>
          </p:cNvPr>
          <p:cNvSpPr/>
          <p:nvPr/>
        </p:nvSpPr>
        <p:spPr>
          <a:xfrm>
            <a:off x="0" y="270812"/>
            <a:ext cx="2833141" cy="779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0024B31-AD5E-493B-94A1-FA88AB04B7E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42363" y="482905"/>
            <a:ext cx="2154195" cy="355302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6A2C31EC-493D-4500-A5EA-7151817DA11F}"/>
              </a:ext>
            </a:extLst>
          </p:cNvPr>
          <p:cNvSpPr txBox="1"/>
          <p:nvPr/>
        </p:nvSpPr>
        <p:spPr>
          <a:xfrm>
            <a:off x="781621" y="1080457"/>
            <a:ext cx="10846788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</a:rPr>
              <a:t>Trotz Krisenzeiten mit Stagnation und Rezession erwarten nur 12 % der Banken in diesem Jahr kein Wachstum in ihrem </a:t>
            </a:r>
            <a:r>
              <a:rPr lang="de-DE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</a:rPr>
              <a:t>Firmenkund*</a:t>
            </a:r>
            <a:r>
              <a:rPr lang="de-DE" sz="16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</a:rPr>
              <a:t>innengeschäft</a:t>
            </a:r>
            <a:r>
              <a:rPr lang="de-DE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</a:rPr>
              <a:t> / Die </a:t>
            </a:r>
            <a:r>
              <a:rPr lang="de-DE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</a:rPr>
              <a:t>große Mehrheit der Banken sieht nur überschaubare Anteile ihrer </a:t>
            </a:r>
            <a:r>
              <a:rPr lang="de-DE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</a:rPr>
              <a:t>Firmenkund*innen </a:t>
            </a:r>
            <a:r>
              <a:rPr lang="de-DE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</a:rPr>
              <a:t>als stark von den aktuellen ökonomischen Verwerfungen betroffen – bei nur 7 </a:t>
            </a:r>
            <a:r>
              <a:rPr lang="de-DE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</a:rPr>
              <a:t>% </a:t>
            </a:r>
            <a:r>
              <a:rPr lang="de-DE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</a:rPr>
              <a:t>der Banken liegt dieser Anteil betroffener </a:t>
            </a:r>
            <a:r>
              <a:rPr lang="de-DE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</a:rPr>
              <a:t>Firmenkund*innen </a:t>
            </a:r>
            <a:r>
              <a:rPr lang="de-DE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</a:rPr>
              <a:t>über </a:t>
            </a:r>
            <a:r>
              <a:rPr lang="de-DE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</a:rPr>
              <a:t>der Hälfte</a:t>
            </a:r>
            <a:endParaRPr lang="de-DE" sz="1600" dirty="0">
              <a:solidFill>
                <a:schemeClr val="tx1">
                  <a:lumMod val="75000"/>
                  <a:lumOff val="25000"/>
                </a:schemeClr>
              </a:solidFill>
              <a:latin typeface="Georgia" panose="02040502050405020303" pitchFamily="18" charset="0"/>
            </a:endParaRPr>
          </a:p>
        </p:txBody>
      </p:sp>
      <p:graphicFrame>
        <p:nvGraphicFramePr>
          <p:cNvPr id="11" name="Chart 2"/>
          <p:cNvGraphicFramePr/>
          <p:nvPr>
            <p:extLst>
              <p:ext uri="{D42A27DB-BD31-4B8C-83A1-F6EECF244321}">
                <p14:modId xmlns:p14="http://schemas.microsoft.com/office/powerpoint/2010/main" val="489565492"/>
              </p:ext>
            </p:extLst>
          </p:nvPr>
        </p:nvGraphicFramePr>
        <p:xfrm>
          <a:off x="7225892" y="3161073"/>
          <a:ext cx="3941127" cy="36013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0" name="Fußzeilenplatzhalter 1"/>
          <p:cNvSpPr>
            <a:spLocks noGrp="1"/>
          </p:cNvSpPr>
          <p:nvPr>
            <p:ph type="ftr" sz="quarter" idx="11"/>
          </p:nvPr>
        </p:nvSpPr>
        <p:spPr>
          <a:xfrm>
            <a:off x="781621" y="6356350"/>
            <a:ext cx="7371779" cy="365125"/>
          </a:xfrm>
        </p:spPr>
        <p:txBody>
          <a:bodyPr/>
          <a:lstStyle/>
          <a:p>
            <a:pPr algn="l"/>
            <a:r>
              <a:rPr lang="de-DE" sz="1000" dirty="0" smtClean="0">
                <a:solidFill>
                  <a:schemeClr val="bg1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Quelle: Umfrage vom 20.07.2023 bis 11.08.2023; Teilnahmequote: 75 % der Mitgliedsbanken</a:t>
            </a:r>
            <a:endParaRPr lang="de-DE" sz="1000" dirty="0">
              <a:solidFill>
                <a:schemeClr val="bg1">
                  <a:lumMod val="50000"/>
                </a:schemeClr>
              </a:solidFill>
              <a:latin typeface="Georgia" panose="02040502050405020303" pitchFamily="18" charset="0"/>
              <a:cs typeface="Arial" panose="020B0604020202020204" pitchFamily="34" charset="0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31D3EF12-FB90-456B-A945-B1E9FF696961}"/>
              </a:ext>
            </a:extLst>
          </p:cNvPr>
          <p:cNvSpPr txBox="1"/>
          <p:nvPr/>
        </p:nvSpPr>
        <p:spPr>
          <a:xfrm>
            <a:off x="5710291" y="2413186"/>
            <a:ext cx="6203732" cy="9002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100"/>
              </a:lnSpc>
            </a:pPr>
            <a:r>
              <a:rPr lang="de-DE" sz="15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Frage: </a:t>
            </a:r>
            <a:r>
              <a:rPr lang="de-DE" sz="1500" dirty="0">
                <a:solidFill>
                  <a:srgbClr val="000000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Wie hoch schätzen Sie den Anteil Ihrer Firmenkunden, </a:t>
            </a:r>
            <a:r>
              <a:rPr lang="de-DE" sz="1500" dirty="0" smtClean="0">
                <a:solidFill>
                  <a:srgbClr val="000000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die </a:t>
            </a:r>
            <a:r>
              <a:rPr lang="de-DE" sz="1500" dirty="0">
                <a:solidFill>
                  <a:srgbClr val="000000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besonders stark von den aktuellen ökonomischen Verwerfungen </a:t>
            </a:r>
            <a:r>
              <a:rPr lang="de-DE" sz="1500" dirty="0" smtClean="0">
                <a:solidFill>
                  <a:srgbClr val="000000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betroffen sind?</a:t>
            </a:r>
            <a:endParaRPr lang="de-DE" sz="1500" dirty="0">
              <a:solidFill>
                <a:srgbClr val="000000"/>
              </a:solidFill>
              <a:latin typeface="Georgia" panose="02040502050405020303" pitchFamily="18" charset="0"/>
              <a:cs typeface="Arial" panose="020B0604020202020204" pitchFamily="34" charset="0"/>
            </a:endParaRPr>
          </a:p>
        </p:txBody>
      </p:sp>
      <p:graphicFrame>
        <p:nvGraphicFramePr>
          <p:cNvPr id="14" name="Chart 2"/>
          <p:cNvGraphicFramePr/>
          <p:nvPr>
            <p:extLst>
              <p:ext uri="{D42A27DB-BD31-4B8C-83A1-F6EECF244321}">
                <p14:modId xmlns:p14="http://schemas.microsoft.com/office/powerpoint/2010/main" val="2961585837"/>
              </p:ext>
            </p:extLst>
          </p:nvPr>
        </p:nvGraphicFramePr>
        <p:xfrm>
          <a:off x="916748" y="3161073"/>
          <a:ext cx="4453557" cy="30587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6" name="Tabel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8269187"/>
              </p:ext>
            </p:extLst>
          </p:nvPr>
        </p:nvGraphicFramePr>
        <p:xfrm>
          <a:off x="5904419" y="3264867"/>
          <a:ext cx="2288730" cy="3132454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288730">
                  <a:extLst>
                    <a:ext uri="{9D8B030D-6E8A-4147-A177-3AD203B41FA5}">
                      <a16:colId xmlns:a16="http://schemas.microsoft.com/office/drawing/2014/main" val="793830143"/>
                    </a:ext>
                  </a:extLst>
                </a:gridCol>
              </a:tblGrid>
              <a:tr h="514176">
                <a:tc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r>
                        <a:rPr lang="de-DE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ea typeface="+mn-ea"/>
                          <a:cs typeface="Arial" panose="020B0604020202020204" pitchFamily="34" charset="0"/>
                        </a:rPr>
                        <a:t>Weniger als 5 Prozent</a:t>
                      </a:r>
                      <a:endParaRPr lang="de-DE" sz="1400" u="none" strike="noStrike" kern="1200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90927074"/>
                  </a:ext>
                </a:extLst>
              </a:tr>
              <a:tr h="514176">
                <a:tc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r>
                        <a:rPr lang="de-DE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ea typeface="+mn-ea"/>
                          <a:cs typeface="Arial" panose="020B0604020202020204" pitchFamily="34" charset="0"/>
                        </a:rPr>
                        <a:t>6 – 10 Prozent</a:t>
                      </a:r>
                      <a:endParaRPr lang="de-DE" sz="1400" u="none" strike="noStrike" kern="1200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412891584"/>
                  </a:ext>
                </a:extLst>
              </a:tr>
              <a:tr h="514176">
                <a:tc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r>
                        <a:rPr lang="de-DE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ea typeface="+mn-ea"/>
                          <a:cs typeface="Arial" panose="020B0604020202020204" pitchFamily="34" charset="0"/>
                        </a:rPr>
                        <a:t>11 – 25 Prozent</a:t>
                      </a:r>
                      <a:endParaRPr lang="de-DE" sz="1400" u="none" strike="noStrike" kern="1200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530786393"/>
                  </a:ext>
                </a:extLst>
              </a:tr>
              <a:tr h="514176">
                <a:tc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r>
                        <a:rPr lang="de-DE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ea typeface="+mn-ea"/>
                          <a:cs typeface="Arial" panose="020B0604020202020204" pitchFamily="34" charset="0"/>
                        </a:rPr>
                        <a:t>26 – 50 Prozent</a:t>
                      </a:r>
                      <a:endParaRPr lang="de-DE" sz="1400" u="none" strike="noStrike" kern="1200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307905626"/>
                  </a:ext>
                </a:extLst>
              </a:tr>
              <a:tr h="515206">
                <a:tc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r>
                        <a:rPr lang="de-DE" sz="14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ea typeface="+mn-ea"/>
                          <a:cs typeface="Arial" panose="020B0604020202020204" pitchFamily="34" charset="0"/>
                        </a:rPr>
                        <a:t>Mehr als 50 Prozent</a:t>
                      </a:r>
                      <a:endParaRPr lang="de-DE" sz="1400" u="none" strike="noStrike" kern="1200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339588646"/>
                  </a:ext>
                </a:extLst>
              </a:tr>
              <a:tr h="560544">
                <a:tc>
                  <a:txBody>
                    <a:bodyPr/>
                    <a:lstStyle/>
                    <a:p>
                      <a:pPr algn="r" fontAlgn="t"/>
                      <a:r>
                        <a:rPr lang="de-DE" sz="1400" u="none" strike="noStrike" dirty="0" smtClean="0">
                          <a:effectLst/>
                          <a:latin typeface="Georgia" panose="02040502050405020303" pitchFamily="18" charset="0"/>
                          <a:cs typeface="Arial" panose="020B0604020202020204" pitchFamily="34" charset="0"/>
                        </a:rPr>
                        <a:t>Keine Beurteilung</a:t>
                      </a:r>
                    </a:p>
                    <a:p>
                      <a:pPr algn="r" fontAlgn="t"/>
                      <a:r>
                        <a:rPr lang="de-DE" sz="1400" u="none" strike="noStrike" dirty="0" smtClean="0">
                          <a:effectLst/>
                          <a:latin typeface="Georgia" panose="02040502050405020303" pitchFamily="18" charset="0"/>
                          <a:cs typeface="Arial" panose="020B0604020202020204" pitchFamily="34" charset="0"/>
                        </a:rPr>
                        <a:t>möglich</a:t>
                      </a:r>
                      <a:endParaRPr lang="de-DE" sz="1400" b="0" i="0" u="none" strike="noStrike" dirty="0" smtClean="0">
                        <a:solidFill>
                          <a:srgbClr val="333399"/>
                        </a:solidFill>
                        <a:effectLst/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21256310"/>
                  </a:ext>
                </a:extLst>
              </a:tr>
            </a:tbl>
          </a:graphicData>
        </a:graphic>
      </p:graphicFrame>
      <p:graphicFrame>
        <p:nvGraphicFramePr>
          <p:cNvPr id="17" name="Tabel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9307644"/>
              </p:ext>
            </p:extLst>
          </p:nvPr>
        </p:nvGraphicFramePr>
        <p:xfrm>
          <a:off x="792678" y="3161073"/>
          <a:ext cx="1497794" cy="2984621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497794">
                  <a:extLst>
                    <a:ext uri="{9D8B030D-6E8A-4147-A177-3AD203B41FA5}">
                      <a16:colId xmlns:a16="http://schemas.microsoft.com/office/drawing/2014/main" val="793830143"/>
                    </a:ext>
                  </a:extLst>
                </a:gridCol>
              </a:tblGrid>
              <a:tr h="786700">
                <a:tc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r>
                        <a:rPr lang="de-DE" sz="1400" dirty="0" smtClean="0">
                          <a:solidFill>
                            <a:srgbClr val="000000"/>
                          </a:solidFill>
                          <a:latin typeface="Georgia" panose="02040502050405020303" pitchFamily="18" charset="0"/>
                        </a:rPr>
                        <a:t>Höheres Wachstum als 2022</a:t>
                      </a:r>
                      <a:endParaRPr lang="de-DE" sz="1400" u="none" strike="noStrike" kern="1200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90927074"/>
                  </a:ext>
                </a:extLst>
              </a:tr>
              <a:tr h="786700">
                <a:tc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r>
                        <a:rPr lang="de-DE" sz="1400" dirty="0" smtClean="0">
                          <a:solidFill>
                            <a:srgbClr val="000000"/>
                          </a:solidFill>
                          <a:latin typeface="Georgia" panose="02040502050405020303" pitchFamily="18" charset="0"/>
                        </a:rPr>
                        <a:t>Gleichbleibendes Wachstum wie in 2022</a:t>
                      </a:r>
                      <a:endParaRPr lang="de-DE" sz="1400" u="none" strike="noStrike" kern="1200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412891584"/>
                  </a:ext>
                </a:extLst>
              </a:tr>
              <a:tr h="786700">
                <a:tc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r>
                        <a:rPr lang="de-DE" sz="1400" dirty="0" smtClean="0">
                          <a:solidFill>
                            <a:srgbClr val="000000"/>
                          </a:solidFill>
                          <a:latin typeface="Georgia" panose="02040502050405020303" pitchFamily="18" charset="0"/>
                        </a:rPr>
                        <a:t>Geringeres Wachstum als 2022</a:t>
                      </a:r>
                      <a:endParaRPr lang="de-DE" sz="1400" u="none" strike="noStrike" kern="1200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530786393"/>
                  </a:ext>
                </a:extLst>
              </a:tr>
              <a:tr h="624521">
                <a:tc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r>
                        <a:rPr lang="de-DE" sz="1400" dirty="0" smtClean="0">
                          <a:solidFill>
                            <a:srgbClr val="000000"/>
                          </a:solidFill>
                          <a:latin typeface="Georgia" panose="02040502050405020303" pitchFamily="18" charset="0"/>
                        </a:rPr>
                        <a:t>Kein Wachstum</a:t>
                      </a:r>
                      <a:endParaRPr lang="de-DE" sz="1400" u="none" strike="noStrike" kern="1200" dirty="0"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30790562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54303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ViqahlchLpiuBDnzwLi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4aUlHmlqUx.JyjMcXEc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QRyJjiIoKJ3W3Wk7HVu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Eh81JJAsbNk_wvEFsrK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1WGi4k.FATjHiw7QpH3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bTZxH2Z5WcqaqyYmLjB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s17Ifss4IK38FVJ0tDr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hUbkoH9Ne8ox98jAsWy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DudO.UpayF5L.GZQ_Xou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rNEZGX_UXnv4CIzgaPe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_XdextX7lqYgvYsxIMw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Ly5fv3GjMCi5zhkMkZw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i4ppeCc.8GC7kNTM3yc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BBPRJy8c8dwlRQWgIiU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8q6aLJJuAbZ7rrYH_17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WMmkDRMxaVCAHoqO3V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CC4I5AbrmsBxYpPaunV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X4DYgQrQPJXYAGZOBUB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8FdWdXXteieD2Ll_mst.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ViqahlchLpiuBDnzwL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3pgZdSC0iCS6a5BRZ6J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Awado_Deutsche Audit">
  <a:themeElements>
    <a:clrScheme name="AWADO">
      <a:dk1>
        <a:srgbClr val="212121"/>
      </a:dk1>
      <a:lt1>
        <a:srgbClr val="FFFFFF"/>
      </a:lt1>
      <a:dk2>
        <a:srgbClr val="7F7F7F"/>
      </a:dk2>
      <a:lt2>
        <a:srgbClr val="F2F1F3"/>
      </a:lt2>
      <a:accent1>
        <a:srgbClr val="003C6E"/>
      </a:accent1>
      <a:accent2>
        <a:srgbClr val="FF700D"/>
      </a:accent2>
      <a:accent3>
        <a:srgbClr val="0AAEFE"/>
      </a:accent3>
      <a:accent4>
        <a:srgbClr val="ABDBFF"/>
      </a:accent4>
      <a:accent5>
        <a:srgbClr val="87B5CB"/>
      </a:accent5>
      <a:accent6>
        <a:srgbClr val="E5E3E0"/>
      </a:accent6>
      <a:hlink>
        <a:srgbClr val="0AAEFE"/>
      </a:hlink>
      <a:folHlink>
        <a:srgbClr val="ABDBFF"/>
      </a:folHlink>
    </a:clrScheme>
    <a:fontScheme name="Lariss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>
          <a:solidFill>
            <a:schemeClr val="tx1"/>
          </a:solidFill>
          <a:headEnd/>
          <a:tailEnd/>
        </a:ln>
        <a:effectLst/>
      </a:spPr>
      <a:bodyPr wrap="square" rtlCol="0" anchor="ctr">
        <a:noAutofit/>
      </a:bodyPr>
      <a:lstStyle>
        <a:defPPr algn="ctr">
          <a:spcBef>
            <a:spcPct val="0"/>
          </a:spcBef>
          <a:defRPr sz="1600" dirty="0" err="1" smtClean="0">
            <a:solidFill>
              <a:schemeClr val="tx1"/>
            </a:solidFill>
            <a:latin typeface="+mn-lt"/>
          </a:defRPr>
        </a:defPPr>
      </a:lstStyle>
      <a:style>
        <a:lnRef idx="1">
          <a:schemeClr val="accent4"/>
        </a:lnRef>
        <a:fillRef idx="2">
          <a:schemeClr val="accent4"/>
        </a:fillRef>
        <a:effectRef idx="1">
          <a:schemeClr val="accent4"/>
        </a:effectRef>
        <a:fontRef idx="minor">
          <a:schemeClr val="dk1"/>
        </a:fontRef>
      </a:style>
    </a:spDef>
    <a:lnDef>
      <a:spPr bwMode="gray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 bwMode="gray">
        <a:noFill/>
      </a:spPr>
      <a:bodyPr wrap="square" lIns="36000" tIns="36000" rIns="36000" bIns="36000" rtlCol="0">
        <a:spAutoFit/>
      </a:bodyPr>
      <a:lstStyle>
        <a:defPPr marL="216000" indent="-216000">
          <a:spcBef>
            <a:spcPts val="600"/>
          </a:spcBef>
          <a:buClr>
            <a:srgbClr val="00436E"/>
          </a:buClr>
          <a:buSzPct val="90000"/>
          <a:buFont typeface="Wingdings" panose="05000000000000000000" pitchFamily="2" charset="2"/>
          <a:buChar char="n"/>
          <a:defRPr sz="1600" dirty="0" err="1" smtClean="0"/>
        </a:defPPr>
      </a:lstStyle>
    </a:txDef>
  </a:objectDefaults>
  <a:extraClrSchemeLst>
    <a:extraClrScheme>
      <a:clrScheme name="Verband">
        <a:dk1>
          <a:srgbClr val="000000"/>
        </a:dk1>
        <a:lt1>
          <a:srgbClr val="FFFFFF"/>
        </a:lt1>
        <a:dk2>
          <a:srgbClr val="0C1D43"/>
        </a:dk2>
        <a:lt2>
          <a:srgbClr val="F37021"/>
        </a:lt2>
        <a:accent1>
          <a:srgbClr val="00436E"/>
        </a:accent1>
        <a:accent2>
          <a:srgbClr val="407292"/>
        </a:accent2>
        <a:accent3>
          <a:srgbClr val="7FA1B6"/>
        </a:accent3>
        <a:accent4>
          <a:srgbClr val="CCD9E2"/>
        </a:accent4>
        <a:accent5>
          <a:srgbClr val="DAD3C4"/>
        </a:accent5>
        <a:accent6>
          <a:srgbClr val="F1EEE9"/>
        </a:accent6>
        <a:hlink>
          <a:srgbClr val="FF0000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Kredit">
        <a:dk1>
          <a:srgbClr val="000000"/>
        </a:dk1>
        <a:lt1>
          <a:srgbClr val="FFFFFF"/>
        </a:lt1>
        <a:dk2>
          <a:srgbClr val="143E74"/>
        </a:dk2>
        <a:lt2>
          <a:srgbClr val="F37021"/>
        </a:lt2>
        <a:accent1>
          <a:srgbClr val="0066B3"/>
        </a:accent1>
        <a:accent2>
          <a:srgbClr val="009EE0"/>
        </a:accent2>
        <a:accent3>
          <a:srgbClr val="7FCEEF"/>
        </a:accent3>
        <a:accent4>
          <a:srgbClr val="B2E2F6"/>
        </a:accent4>
        <a:accent5>
          <a:srgbClr val="DAD3C4"/>
        </a:accent5>
        <a:accent6>
          <a:srgbClr val="F1EEE9"/>
        </a:accent6>
        <a:hlink>
          <a:srgbClr val="FF0000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ewerbliche Ware/Dienstleistungen">
        <a:dk1>
          <a:srgbClr val="000000"/>
        </a:dk1>
        <a:lt1>
          <a:srgbClr val="FFFFFF"/>
        </a:lt1>
        <a:dk2>
          <a:srgbClr val="751315"/>
        </a:dk2>
        <a:lt2>
          <a:srgbClr val="F1EEE9"/>
        </a:lt2>
        <a:accent1>
          <a:srgbClr val="DE2922"/>
        </a:accent1>
        <a:accent2>
          <a:srgbClr val="EC8365"/>
        </a:accent2>
        <a:accent3>
          <a:srgbClr val="EEB79D"/>
        </a:accent3>
        <a:accent4>
          <a:srgbClr val="FBD9C9"/>
        </a:accent4>
        <a:accent5>
          <a:srgbClr val="DAD3C4"/>
        </a:accent5>
        <a:accent6>
          <a:srgbClr val="F1EEE9"/>
        </a:accent6>
        <a:hlink>
          <a:srgbClr val="FF0000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ndwirtschaft">
        <a:dk1>
          <a:srgbClr val="000000"/>
        </a:dk1>
        <a:lt1>
          <a:srgbClr val="FFFFFF"/>
        </a:lt1>
        <a:dk2>
          <a:srgbClr val="1D6727"/>
        </a:dk2>
        <a:lt2>
          <a:srgbClr val="F37021"/>
        </a:lt2>
        <a:accent1>
          <a:srgbClr val="32AF00"/>
        </a:accent1>
        <a:accent2>
          <a:srgbClr val="70C74D"/>
        </a:accent2>
        <a:accent3>
          <a:srgbClr val="9BE87A"/>
        </a:accent3>
        <a:accent4>
          <a:srgbClr val="CCEBBF"/>
        </a:accent4>
        <a:accent5>
          <a:srgbClr val="DAD3C4"/>
        </a:accent5>
        <a:accent6>
          <a:srgbClr val="F1EEE9"/>
        </a:accent6>
        <a:hlink>
          <a:srgbClr val="FF0000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Verband 100%">
      <a:srgbClr val="00436E"/>
    </a:custClr>
    <a:custClr name="Kredit 100%">
      <a:srgbClr val="0066B3"/>
    </a:custClr>
    <a:custClr name="Gewerbe 100%">
      <a:srgbClr val="DE2922"/>
    </a:custClr>
    <a:custClr name="Landwirtschaft 100%">
      <a:srgbClr val="32AF00"/>
    </a:custClr>
    <a:custClr name="Auszeichnung 100%">
      <a:srgbClr val="F37021"/>
    </a:custClr>
    <a:custClr name="Schiefergrau 100%">
      <a:srgbClr val="547483"/>
    </a:custClr>
    <a:custClr name="Neutral 100%">
      <a:srgbClr val="C6BAA3"/>
    </a:custClr>
    <a:custClr name="Rot">
      <a:srgbClr val="CC0000"/>
    </a:custClr>
    <a:custClr name="FARBNAME">
      <a:srgbClr val="FFFFFF"/>
    </a:custClr>
    <a:custClr name="FARBNAME">
      <a:srgbClr val="FFFFFF"/>
    </a:custClr>
    <a:custClr name="Verband 70%">
      <a:srgbClr val="407292"/>
    </a:custClr>
    <a:custClr name="Kredit 70%">
      <a:srgbClr val="009EE0"/>
    </a:custClr>
    <a:custClr name="Gewerbe 70%">
      <a:srgbClr val="EC8365"/>
    </a:custClr>
    <a:custClr name="Landwirtschaft 70%">
      <a:srgbClr val="70C74D"/>
    </a:custClr>
    <a:custClr name="Auszeichnung 70%">
      <a:srgbClr val="F99458"/>
    </a:custClr>
    <a:custClr name="Schiefergrau 70%">
      <a:srgbClr val="8F9EA8"/>
    </a:custClr>
    <a:custClr name="Neutral 70%">
      <a:srgbClr val="DAD3C4"/>
    </a:custClr>
    <a:custClr name="Gelb">
      <a:srgbClr val="D9CC06"/>
    </a:custClr>
    <a:custClr name="FARBNAME">
      <a:srgbClr val="FFFFFF"/>
    </a:custClr>
    <a:custClr name="FARBNAME">
      <a:srgbClr val="FFFFFF"/>
    </a:custClr>
    <a:custClr name="Verband 50%">
      <a:srgbClr val="7FA1B6"/>
    </a:custClr>
    <a:custClr name="Kredit 50%">
      <a:srgbClr val="7FCEEF"/>
    </a:custClr>
    <a:custClr name="Gewerbe 50%">
      <a:srgbClr val="EEB79D"/>
    </a:custClr>
    <a:custClr name="Landwirtschaft 50%">
      <a:srgbClr val="9BE87A"/>
    </a:custClr>
    <a:custClr name="Auszeichnung 50%">
      <a:srgbClr val="FFB98D"/>
    </a:custClr>
    <a:custClr name="Schiefergrau 50%">
      <a:srgbClr val="AFB9C0"/>
    </a:custClr>
    <a:custClr name="Neutral 50%">
      <a:srgbClr val="E3DDD1"/>
    </a:custClr>
    <a:custClr name="Grün">
      <a:srgbClr val="229A5B"/>
    </a:custClr>
    <a:custClr name="FARBNAME">
      <a:srgbClr val="FFFFFF"/>
    </a:custClr>
    <a:custClr name="FARBNAME">
      <a:srgbClr val="FFFFFF"/>
    </a:custClr>
    <a:custClr name="Verband 25%">
      <a:srgbClr val="CCD9E2"/>
    </a:custClr>
    <a:custClr name="Kredit 25%">
      <a:srgbClr val="B2E2F6"/>
    </a:custClr>
    <a:custClr name="Gewerbe 25%">
      <a:srgbClr val="FBD9C9"/>
    </a:custClr>
    <a:custClr name="Landwirtschaft 25%">
      <a:srgbClr val="CCEBBF"/>
    </a:custClr>
    <a:custClr name="Auszeichnung 25%">
      <a:srgbClr val="FBD4BC"/>
    </a:custClr>
    <a:custClr name="Schiefergrau 25%">
      <a:srgbClr val="DAE3E7"/>
    </a:custClr>
    <a:custClr name="Neutral 25%">
      <a:srgbClr val="F1EEE9"/>
    </a:custClr>
    <a:custClr name="FARBNAME">
      <a:srgbClr val="FFFFFF"/>
    </a:custClr>
    <a:custClr name="FARBNAME">
      <a:srgbClr val="FFFFFF"/>
    </a:custClr>
    <a:custClr name="FARBNAME">
      <a:srgbClr val="FFFFFF"/>
    </a:custClr>
    <a:custClr name="Verband">
      <a:srgbClr val="0C1D43"/>
    </a:custClr>
    <a:custClr name="Kredit">
      <a:srgbClr val="143E74"/>
    </a:custClr>
    <a:custClr name="Gewerbe">
      <a:srgbClr val="751315"/>
    </a:custClr>
    <a:custClr name="Landwirtschaft">
      <a:srgbClr val="1D6727"/>
    </a:custClr>
    <a:custClr name="Auszeichnung">
      <a:srgbClr val="9E410B"/>
    </a:custClr>
    <a:custClr name="Schiefergrau">
      <a:srgbClr val="415664"/>
    </a:custClr>
    <a:custClr name="Neutral">
      <a:srgbClr val="8C826E"/>
    </a:custClr>
    <a:custClr name=" ">
      <a:srgbClr val="FFFFFF"/>
    </a:custClr>
    <a:custClr name=" ">
      <a:srgbClr val="FFFFFF"/>
    </a:custClr>
    <a:custClr name=" ">
      <a:srgbClr val="FFFFFF"/>
    </a:custClr>
  </a:custClr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43</Words>
  <Application>Microsoft Office PowerPoint</Application>
  <PresentationFormat>Breitbild</PresentationFormat>
  <Paragraphs>15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Arial Black</vt:lpstr>
      <vt:lpstr>Calibri</vt:lpstr>
      <vt:lpstr>Calibri Light</vt:lpstr>
      <vt:lpstr>Georgia</vt:lpstr>
      <vt:lpstr>Systemschrift</vt:lpstr>
      <vt:lpstr>Webdings</vt:lpstr>
      <vt:lpstr>Office</vt:lpstr>
      <vt:lpstr>Awado_Deutsche Audit</vt:lpstr>
      <vt:lpstr>think-cell Folie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ennis John</dc:creator>
  <cp:lastModifiedBy>Neigenfind, Ute</cp:lastModifiedBy>
  <cp:revision>468</cp:revision>
  <cp:lastPrinted>2022-02-15T06:15:25Z</cp:lastPrinted>
  <dcterms:created xsi:type="dcterms:W3CDTF">2021-02-12T12:14:51Z</dcterms:created>
  <dcterms:modified xsi:type="dcterms:W3CDTF">2023-09-25T10:03:15Z</dcterms:modified>
</cp:coreProperties>
</file>